
<file path=[Content_Types].xml><?xml version="1.0" encoding="utf-8"?>
<Types xmlns="http://schemas.openxmlformats.org/package/2006/content-types">
  <Default Extension="bin" ContentType="application/vnd.openxmlformats-officedocument.oleObject"/>
  <Default Extension="jfif" ContentType="image/jpeg"/>
  <Default Extension="png" ContentType="image/png"/>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theme/theme5.xml" ContentType="application/vnd.openxmlformats-officedocument.theme+xml"/>
  <Override PartName="/ppt/slideLayouts/slideLayout19.xml" ContentType="application/vnd.openxmlformats-officedocument.presentationml.slideLayout+xml"/>
  <Override PartName="/ppt/theme/theme6.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7.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8.xml" ContentType="application/vnd.openxmlformats-officedocument.theme+xml"/>
  <Override PartName="/ppt/slideLayouts/slideLayout26.xml" ContentType="application/vnd.openxmlformats-officedocument.presentationml.slideLayout+xml"/>
  <Override PartName="/ppt/theme/theme9.xml" ContentType="application/vnd.openxmlformats-officedocument.theme+xml"/>
  <Override PartName="/ppt/slideLayouts/slideLayout27.xml" ContentType="application/vnd.openxmlformats-officedocument.presentationml.slideLayout+xml"/>
  <Override PartName="/ppt/theme/theme10.xml" ContentType="application/vnd.openxmlformats-officedocument.theme+xml"/>
  <Override PartName="/ppt/slideLayouts/slideLayout28.xml" ContentType="application/vnd.openxmlformats-officedocument.presentationml.slideLayout+xml"/>
  <Override PartName="/ppt/theme/theme11.xml" ContentType="application/vnd.openxmlformats-officedocument.theme+xml"/>
  <Override PartName="/ppt/slideLayouts/slideLayout29.xml" ContentType="application/vnd.openxmlformats-officedocument.presentationml.slideLayout+xml"/>
  <Override PartName="/ppt/theme/theme12.xml" ContentType="application/vnd.openxmlformats-officedocument.theme+xml"/>
  <Override PartName="/ppt/slideLayouts/slideLayout30.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31.xml" ContentType="application/vnd.openxmlformats-officedocument.presentationml.slideLayout+xml"/>
  <Override PartName="/ppt/theme/theme1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15.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media/image13.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2" showSpecialPlsOnTitleSld="0" strictFirstAndLastChars="0" saveSubsetFonts="1">
  <p:sldMasterIdLst>
    <p:sldMasterId id="2147497796" r:id="rId1"/>
    <p:sldMasterId id="2147483724" r:id="rId2"/>
    <p:sldMasterId id="2147497813" r:id="rId3"/>
    <p:sldMasterId id="2147497892" r:id="rId4"/>
    <p:sldMasterId id="2147483726" r:id="rId5"/>
    <p:sldMasterId id="2147484151" r:id="rId6"/>
    <p:sldMasterId id="2147497898" r:id="rId7"/>
    <p:sldMasterId id="2147497806" r:id="rId8"/>
    <p:sldMasterId id="2147483978" r:id="rId9"/>
    <p:sldMasterId id="2147483873" r:id="rId10"/>
    <p:sldMasterId id="2147484521" r:id="rId11"/>
    <p:sldMasterId id="2147497328" r:id="rId12"/>
    <p:sldMasterId id="2147483712" r:id="rId13"/>
    <p:sldMasterId id="2147483658" r:id="rId14"/>
    <p:sldMasterId id="2147483648" r:id="rId15"/>
    <p:sldMasterId id="2147483666" r:id="rId16"/>
  </p:sldMasterIdLst>
  <p:notesMasterIdLst>
    <p:notesMasterId r:id="rId88"/>
  </p:notesMasterIdLst>
  <p:handoutMasterIdLst>
    <p:handoutMasterId r:id="rId89"/>
  </p:handoutMasterIdLst>
  <p:sldIdLst>
    <p:sldId id="3617" r:id="rId17"/>
    <p:sldId id="3618" r:id="rId18"/>
    <p:sldId id="3744" r:id="rId19"/>
    <p:sldId id="3711" r:id="rId20"/>
    <p:sldId id="3694" r:id="rId21"/>
    <p:sldId id="3720" r:id="rId22"/>
    <p:sldId id="3691" r:id="rId23"/>
    <p:sldId id="3727" r:id="rId24"/>
    <p:sldId id="3728" r:id="rId25"/>
    <p:sldId id="3745" r:id="rId26"/>
    <p:sldId id="3693" r:id="rId27"/>
    <p:sldId id="3695" r:id="rId28"/>
    <p:sldId id="3696" r:id="rId29"/>
    <p:sldId id="3646" r:id="rId30"/>
    <p:sldId id="3692" r:id="rId31"/>
    <p:sldId id="3721" r:id="rId32"/>
    <p:sldId id="3722" r:id="rId33"/>
    <p:sldId id="3730" r:id="rId34"/>
    <p:sldId id="3698" r:id="rId35"/>
    <p:sldId id="3723" r:id="rId36"/>
    <p:sldId id="3717" r:id="rId37"/>
    <p:sldId id="3735" r:id="rId38"/>
    <p:sldId id="3718" r:id="rId39"/>
    <p:sldId id="3736" r:id="rId40"/>
    <p:sldId id="3742" r:id="rId41"/>
    <p:sldId id="3699" r:id="rId42"/>
    <p:sldId id="3724" r:id="rId43"/>
    <p:sldId id="3746" r:id="rId44"/>
    <p:sldId id="3737" r:id="rId45"/>
    <p:sldId id="3738" r:id="rId46"/>
    <p:sldId id="3701" r:id="rId47"/>
    <p:sldId id="3726" r:id="rId48"/>
    <p:sldId id="3715" r:id="rId49"/>
    <p:sldId id="3743" r:id="rId50"/>
    <p:sldId id="3689" r:id="rId51"/>
    <p:sldId id="3702" r:id="rId52"/>
    <p:sldId id="3739" r:id="rId53"/>
    <p:sldId id="3713" r:id="rId54"/>
    <p:sldId id="3749" r:id="rId55"/>
    <p:sldId id="3748" r:id="rId56"/>
    <p:sldId id="3750" r:id="rId57"/>
    <p:sldId id="3751" r:id="rId58"/>
    <p:sldId id="3752" r:id="rId59"/>
    <p:sldId id="3731" r:id="rId60"/>
    <p:sldId id="3725" r:id="rId61"/>
    <p:sldId id="3740" r:id="rId62"/>
    <p:sldId id="3697" r:id="rId63"/>
    <p:sldId id="3648" r:id="rId64"/>
    <p:sldId id="3741" r:id="rId65"/>
    <p:sldId id="3732" r:id="rId66"/>
    <p:sldId id="3733" r:id="rId67"/>
    <p:sldId id="3734" r:id="rId68"/>
    <p:sldId id="3683" r:id="rId69"/>
    <p:sldId id="3753" r:id="rId70"/>
    <p:sldId id="3755" r:id="rId71"/>
    <p:sldId id="3706" r:id="rId72"/>
    <p:sldId id="3707" r:id="rId73"/>
    <p:sldId id="3708" r:id="rId74"/>
    <p:sldId id="3709" r:id="rId75"/>
    <p:sldId id="3710" r:id="rId76"/>
    <p:sldId id="3712" r:id="rId77"/>
    <p:sldId id="3716" r:id="rId78"/>
    <p:sldId id="3719" r:id="rId79"/>
    <p:sldId id="3643" r:id="rId80"/>
    <p:sldId id="3669" r:id="rId81"/>
    <p:sldId id="3676" r:id="rId82"/>
    <p:sldId id="3677" r:id="rId83"/>
    <p:sldId id="3690" r:id="rId84"/>
    <p:sldId id="3678" r:id="rId85"/>
    <p:sldId id="3729" r:id="rId86"/>
    <p:sldId id="3651" r:id="rId87"/>
  </p:sldIdLst>
  <p:sldSz cx="9144000" cy="6858000" type="screen4x3"/>
  <p:notesSz cx="7102475" cy="9388475"/>
  <p:defaultTextStyle>
    <a:defPPr>
      <a:defRPr lang="en-US"/>
    </a:defPPr>
    <a:lvl1pPr algn="l" rtl="0" eaLnBrk="0" fontAlgn="base" hangingPunct="0">
      <a:spcBef>
        <a:spcPct val="0"/>
      </a:spcBef>
      <a:spcAft>
        <a:spcPct val="0"/>
      </a:spcAft>
      <a:defRPr sz="13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3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3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3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3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3360">
          <p15:clr>
            <a:srgbClr val="A4A3A4"/>
          </p15:clr>
        </p15:guide>
        <p15:guide id="2" pos="2880">
          <p15:clr>
            <a:srgbClr val="A4A3A4"/>
          </p15:clr>
        </p15:guide>
      </p15:sldGuideLst>
    </p:ext>
    <p:ext uri="{2D200454-40CA-4A62-9FC3-DE9A4176ACB9}">
      <p15:notesGuideLst xmlns:p15="http://schemas.microsoft.com/office/powerpoint/2012/main">
        <p15:guide id="1" orient="horz" pos="2957">
          <p15:clr>
            <a:srgbClr val="A4A3A4"/>
          </p15:clr>
        </p15:guide>
        <p15:guide id="2"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7F00"/>
    <a:srgbClr val="008000"/>
    <a:srgbClr val="CB6B0E"/>
    <a:srgbClr val="666633"/>
    <a:srgbClr val="0099CC"/>
    <a:srgbClr val="00AF8A"/>
    <a:srgbClr val="3798B9"/>
    <a:srgbClr val="679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83FA74-9C6C-494A-B4A7-F24DFB5E5CF4}" v="425" dt="2023-06-13T13:55:39.9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39" autoAdjust="0"/>
    <p:restoredTop sz="94705" autoAdjust="0"/>
  </p:normalViewPr>
  <p:slideViewPr>
    <p:cSldViewPr showGuides="1">
      <p:cViewPr varScale="1">
        <p:scale>
          <a:sx n="111" d="100"/>
          <a:sy n="111" d="100"/>
        </p:scale>
        <p:origin x="678" y="96"/>
      </p:cViewPr>
      <p:guideLst>
        <p:guide orient="horz" pos="33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4194"/>
    </p:cViewPr>
  </p:sorterViewPr>
  <p:notesViewPr>
    <p:cSldViewPr showGuides="1">
      <p:cViewPr varScale="1">
        <p:scale>
          <a:sx n="42" d="100"/>
          <a:sy n="42" d="100"/>
        </p:scale>
        <p:origin x="-2078" y="-106"/>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slide" Target="slides/slide68.xml"/><Relationship Id="rId89" Type="http://schemas.openxmlformats.org/officeDocument/2006/relationships/handoutMaster" Target="handoutMasters/handoutMaster1.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5" Type="http://schemas.openxmlformats.org/officeDocument/2006/relationships/slideMaster" Target="slideMasters/slideMaster5.xml"/><Relationship Id="rId90" Type="http://schemas.openxmlformats.org/officeDocument/2006/relationships/presProps" Target="presProps.xml"/><Relationship Id="rId95" Type="http://schemas.microsoft.com/office/2015/10/relationships/revisionInfo" Target="revisionInfo.xml"/><Relationship Id="rId22" Type="http://schemas.openxmlformats.org/officeDocument/2006/relationships/slide" Target="slides/slide6.xml"/><Relationship Id="rId27" Type="http://schemas.openxmlformats.org/officeDocument/2006/relationships/slide" Target="slides/slide11.xml"/><Relationship Id="rId43" Type="http://schemas.openxmlformats.org/officeDocument/2006/relationships/slide" Target="slides/slide27.xml"/><Relationship Id="rId48" Type="http://schemas.openxmlformats.org/officeDocument/2006/relationships/slide" Target="slides/slide32.xml"/><Relationship Id="rId64" Type="http://schemas.openxmlformats.org/officeDocument/2006/relationships/slide" Target="slides/slide48.xml"/><Relationship Id="rId69" Type="http://schemas.openxmlformats.org/officeDocument/2006/relationships/slide" Target="slides/slide53.xml"/><Relationship Id="rId80" Type="http://schemas.openxmlformats.org/officeDocument/2006/relationships/slide" Target="slides/slide64.xml"/><Relationship Id="rId85" Type="http://schemas.openxmlformats.org/officeDocument/2006/relationships/slide" Target="slides/slide6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slide" Target="slides/slide67.xml"/><Relationship Id="rId88" Type="http://schemas.openxmlformats.org/officeDocument/2006/relationships/notesMaster" Target="notesMasters/notesMaster1.xml"/><Relationship Id="rId91" Type="http://schemas.openxmlformats.org/officeDocument/2006/relationships/viewProps" Target="viewProps.xml"/><Relationship Id="rId96"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10.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slide" Target="slides/slide70.xml"/><Relationship Id="rId94"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97" Type="http://schemas.openxmlformats.org/officeDocument/2006/relationships/customXml" Target="../customXml/item2.xml"/><Relationship Id="rId7" Type="http://schemas.openxmlformats.org/officeDocument/2006/relationships/slideMaster" Target="slideMasters/slideMaster7.xml"/><Relationship Id="rId71" Type="http://schemas.openxmlformats.org/officeDocument/2006/relationships/slide" Target="slides/slide55.xml"/><Relationship Id="rId9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61" Type="http://schemas.openxmlformats.org/officeDocument/2006/relationships/slide" Target="slides/slide45.xml"/><Relationship Id="rId82" Type="http://schemas.openxmlformats.org/officeDocument/2006/relationships/slide" Target="slides/slide66.xml"/><Relationship Id="rId19" Type="http://schemas.openxmlformats.org/officeDocument/2006/relationships/slide" Target="slides/slide3.xml"/><Relationship Id="rId14" Type="http://schemas.openxmlformats.org/officeDocument/2006/relationships/slideMaster" Target="slideMasters/slideMaster14.xml"/><Relationship Id="rId30" Type="http://schemas.openxmlformats.org/officeDocument/2006/relationships/slide" Target="slides/slide14.xml"/><Relationship Id="rId35" Type="http://schemas.openxmlformats.org/officeDocument/2006/relationships/slide" Target="slides/slide19.xml"/><Relationship Id="rId56" Type="http://schemas.openxmlformats.org/officeDocument/2006/relationships/slide" Target="slides/slide40.xml"/><Relationship Id="rId77" Type="http://schemas.openxmlformats.org/officeDocument/2006/relationships/slide" Target="slides/slide61.xml"/><Relationship Id="rId8" Type="http://schemas.openxmlformats.org/officeDocument/2006/relationships/slideMaster" Target="slideMasters/slideMaster8.xml"/><Relationship Id="rId51" Type="http://schemas.openxmlformats.org/officeDocument/2006/relationships/slide" Target="slides/slide35.xml"/><Relationship Id="rId72" Type="http://schemas.openxmlformats.org/officeDocument/2006/relationships/slide" Target="slides/slide56.xml"/><Relationship Id="rId93" Type="http://schemas.openxmlformats.org/officeDocument/2006/relationships/tableStyles" Target="tableStyles.xml"/><Relationship Id="rId98"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Sink" userId="007532c1-63dd-4f29-9932-df3a9735f490" providerId="ADAL" clId="{C2997A85-FA0E-4A15-BC96-D9C164783C31}"/>
    <pc:docChg chg="undo custSel addSld delSld modSld addMainMaster delMainMaster modMainMaster">
      <pc:chgData name="Scott Sink" userId="007532c1-63dd-4f29-9932-df3a9735f490" providerId="ADAL" clId="{C2997A85-FA0E-4A15-BC96-D9C164783C31}" dt="2023-06-03T23:51:59.753" v="1114"/>
      <pc:docMkLst>
        <pc:docMk/>
      </pc:docMkLst>
      <pc:sldChg chg="del">
        <pc:chgData name="Scott Sink" userId="007532c1-63dd-4f29-9932-df3a9735f490" providerId="ADAL" clId="{C2997A85-FA0E-4A15-BC96-D9C164783C31}" dt="2023-06-02T20:05:40.412" v="879" actId="47"/>
        <pc:sldMkLst>
          <pc:docMk/>
          <pc:sldMk cId="156984403" sldId="1022"/>
        </pc:sldMkLst>
      </pc:sldChg>
      <pc:sldChg chg="del">
        <pc:chgData name="Scott Sink" userId="007532c1-63dd-4f29-9932-df3a9735f490" providerId="ADAL" clId="{C2997A85-FA0E-4A15-BC96-D9C164783C31}" dt="2023-06-02T20:05:40.956" v="880" actId="47"/>
        <pc:sldMkLst>
          <pc:docMk/>
          <pc:sldMk cId="1319358326" sldId="1034"/>
        </pc:sldMkLst>
      </pc:sldChg>
      <pc:sldChg chg="del">
        <pc:chgData name="Scott Sink" userId="007532c1-63dd-4f29-9932-df3a9735f490" providerId="ADAL" clId="{C2997A85-FA0E-4A15-BC96-D9C164783C31}" dt="2023-06-02T20:05:41.819" v="881" actId="47"/>
        <pc:sldMkLst>
          <pc:docMk/>
          <pc:sldMk cId="1695089351" sldId="1035"/>
        </pc:sldMkLst>
      </pc:sldChg>
      <pc:sldChg chg="del">
        <pc:chgData name="Scott Sink" userId="007532c1-63dd-4f29-9932-df3a9735f490" providerId="ADAL" clId="{C2997A85-FA0E-4A15-BC96-D9C164783C31}" dt="2023-06-02T20:05:39.719" v="878" actId="47"/>
        <pc:sldMkLst>
          <pc:docMk/>
          <pc:sldMk cId="3394926519" sldId="3543"/>
        </pc:sldMkLst>
      </pc:sldChg>
      <pc:sldChg chg="del">
        <pc:chgData name="Scott Sink" userId="007532c1-63dd-4f29-9932-df3a9735f490" providerId="ADAL" clId="{C2997A85-FA0E-4A15-BC96-D9C164783C31}" dt="2023-06-02T20:03:51.792" v="783" actId="47"/>
        <pc:sldMkLst>
          <pc:docMk/>
          <pc:sldMk cId="2587135016" sldId="3583"/>
        </pc:sldMkLst>
      </pc:sldChg>
      <pc:sldChg chg="del">
        <pc:chgData name="Scott Sink" userId="007532c1-63dd-4f29-9932-df3a9735f490" providerId="ADAL" clId="{C2997A85-FA0E-4A15-BC96-D9C164783C31}" dt="2023-06-02T20:03:53.802" v="784" actId="47"/>
        <pc:sldMkLst>
          <pc:docMk/>
          <pc:sldMk cId="156920407" sldId="3584"/>
        </pc:sldMkLst>
      </pc:sldChg>
      <pc:sldChg chg="del">
        <pc:chgData name="Scott Sink" userId="007532c1-63dd-4f29-9932-df3a9735f490" providerId="ADAL" clId="{C2997A85-FA0E-4A15-BC96-D9C164783C31}" dt="2023-06-02T20:04:20.474" v="795" actId="47"/>
        <pc:sldMkLst>
          <pc:docMk/>
          <pc:sldMk cId="985217198" sldId="3603"/>
        </pc:sldMkLst>
      </pc:sldChg>
      <pc:sldChg chg="del">
        <pc:chgData name="Scott Sink" userId="007532c1-63dd-4f29-9932-df3a9735f490" providerId="ADAL" clId="{C2997A85-FA0E-4A15-BC96-D9C164783C31}" dt="2023-06-02T20:04:26.505" v="808" actId="47"/>
        <pc:sldMkLst>
          <pc:docMk/>
          <pc:sldMk cId="2956154196" sldId="3604"/>
        </pc:sldMkLst>
      </pc:sldChg>
      <pc:sldChg chg="del">
        <pc:chgData name="Scott Sink" userId="007532c1-63dd-4f29-9932-df3a9735f490" providerId="ADAL" clId="{C2997A85-FA0E-4A15-BC96-D9C164783C31}" dt="2023-06-02T20:04:29.843" v="816" actId="47"/>
        <pc:sldMkLst>
          <pc:docMk/>
          <pc:sldMk cId="3722812206" sldId="3605"/>
        </pc:sldMkLst>
      </pc:sldChg>
      <pc:sldChg chg="del">
        <pc:chgData name="Scott Sink" userId="007532c1-63dd-4f29-9932-df3a9735f490" providerId="ADAL" clId="{C2997A85-FA0E-4A15-BC96-D9C164783C31}" dt="2023-06-02T20:04:30.193" v="817" actId="47"/>
        <pc:sldMkLst>
          <pc:docMk/>
          <pc:sldMk cId="4034699046" sldId="3606"/>
        </pc:sldMkLst>
      </pc:sldChg>
      <pc:sldChg chg="del">
        <pc:chgData name="Scott Sink" userId="007532c1-63dd-4f29-9932-df3a9735f490" providerId="ADAL" clId="{C2997A85-FA0E-4A15-BC96-D9C164783C31}" dt="2023-06-02T20:04:30.519" v="818" actId="47"/>
        <pc:sldMkLst>
          <pc:docMk/>
          <pc:sldMk cId="1125228431" sldId="3607"/>
        </pc:sldMkLst>
      </pc:sldChg>
      <pc:sldChg chg="del">
        <pc:chgData name="Scott Sink" userId="007532c1-63dd-4f29-9932-df3a9735f490" providerId="ADAL" clId="{C2997A85-FA0E-4A15-BC96-D9C164783C31}" dt="2023-06-02T20:04:30.864" v="819" actId="47"/>
        <pc:sldMkLst>
          <pc:docMk/>
          <pc:sldMk cId="116316544" sldId="3608"/>
        </pc:sldMkLst>
      </pc:sldChg>
      <pc:sldChg chg="del">
        <pc:chgData name="Scott Sink" userId="007532c1-63dd-4f29-9932-df3a9735f490" providerId="ADAL" clId="{C2997A85-FA0E-4A15-BC96-D9C164783C31}" dt="2023-06-02T20:04:31.185" v="820" actId="47"/>
        <pc:sldMkLst>
          <pc:docMk/>
          <pc:sldMk cId="2836108606" sldId="3609"/>
        </pc:sldMkLst>
      </pc:sldChg>
      <pc:sldChg chg="del">
        <pc:chgData name="Scott Sink" userId="007532c1-63dd-4f29-9932-df3a9735f490" providerId="ADAL" clId="{C2997A85-FA0E-4A15-BC96-D9C164783C31}" dt="2023-06-02T20:04:31.550" v="821" actId="47"/>
        <pc:sldMkLst>
          <pc:docMk/>
          <pc:sldMk cId="1903822633" sldId="3610"/>
        </pc:sldMkLst>
      </pc:sldChg>
      <pc:sldChg chg="del">
        <pc:chgData name="Scott Sink" userId="007532c1-63dd-4f29-9932-df3a9735f490" providerId="ADAL" clId="{C2997A85-FA0E-4A15-BC96-D9C164783C31}" dt="2023-06-02T20:04:31.868" v="822" actId="47"/>
        <pc:sldMkLst>
          <pc:docMk/>
          <pc:sldMk cId="3686140456" sldId="3611"/>
        </pc:sldMkLst>
      </pc:sldChg>
      <pc:sldChg chg="del">
        <pc:chgData name="Scott Sink" userId="007532c1-63dd-4f29-9932-df3a9735f490" providerId="ADAL" clId="{C2997A85-FA0E-4A15-BC96-D9C164783C31}" dt="2023-06-02T20:04:29.385" v="815" actId="47"/>
        <pc:sldMkLst>
          <pc:docMk/>
          <pc:sldMk cId="3115082838" sldId="3612"/>
        </pc:sldMkLst>
      </pc:sldChg>
      <pc:sldChg chg="addSp modSp mod">
        <pc:chgData name="Scott Sink" userId="007532c1-63dd-4f29-9932-df3a9735f490" providerId="ADAL" clId="{C2997A85-FA0E-4A15-BC96-D9C164783C31}" dt="2023-06-02T20:03:48.119" v="782" actId="1076"/>
        <pc:sldMkLst>
          <pc:docMk/>
          <pc:sldMk cId="46988055" sldId="3614"/>
        </pc:sldMkLst>
        <pc:spChg chg="mod">
          <ac:chgData name="Scott Sink" userId="007532c1-63dd-4f29-9932-df3a9735f490" providerId="ADAL" clId="{C2997A85-FA0E-4A15-BC96-D9C164783C31}" dt="2023-06-02T20:03:37.922" v="779" actId="1076"/>
          <ac:spMkLst>
            <pc:docMk/>
            <pc:sldMk cId="46988055" sldId="3614"/>
            <ac:spMk id="2" creationId="{E1E0086A-5BF8-7173-D3A9-BF6931F43FA3}"/>
          </ac:spMkLst>
        </pc:spChg>
        <pc:picChg chg="mod">
          <ac:chgData name="Scott Sink" userId="007532c1-63dd-4f29-9932-df3a9735f490" providerId="ADAL" clId="{C2997A85-FA0E-4A15-BC96-D9C164783C31}" dt="2023-06-02T20:03:41.969" v="780" actId="1076"/>
          <ac:picMkLst>
            <pc:docMk/>
            <pc:sldMk cId="46988055" sldId="3614"/>
            <ac:picMk id="5" creationId="{350F6A6F-9254-169D-C554-7DBAAD8796CD}"/>
          </ac:picMkLst>
        </pc:picChg>
        <pc:picChg chg="add mod">
          <ac:chgData name="Scott Sink" userId="007532c1-63dd-4f29-9932-df3a9735f490" providerId="ADAL" clId="{C2997A85-FA0E-4A15-BC96-D9C164783C31}" dt="2023-06-02T20:03:48.119" v="782" actId="1076"/>
          <ac:picMkLst>
            <pc:docMk/>
            <pc:sldMk cId="46988055" sldId="3614"/>
            <ac:picMk id="6" creationId="{D3503E87-AEA2-2EC8-30AD-DC3FA938F7A2}"/>
          </ac:picMkLst>
        </pc:picChg>
      </pc:sldChg>
      <pc:sldChg chg="addSp delSp modSp mod">
        <pc:chgData name="Scott Sink" userId="007532c1-63dd-4f29-9932-df3a9735f490" providerId="ADAL" clId="{C2997A85-FA0E-4A15-BC96-D9C164783C31}" dt="2023-06-02T19:47:12.952" v="271" actId="20577"/>
        <pc:sldMkLst>
          <pc:docMk/>
          <pc:sldMk cId="3858186052" sldId="3617"/>
        </pc:sldMkLst>
        <pc:spChg chg="mod">
          <ac:chgData name="Scott Sink" userId="007532c1-63dd-4f29-9932-df3a9735f490" providerId="ADAL" clId="{C2997A85-FA0E-4A15-BC96-D9C164783C31}" dt="2023-06-02T19:42:30.774" v="132" actId="14100"/>
          <ac:spMkLst>
            <pc:docMk/>
            <pc:sldMk cId="3858186052" sldId="3617"/>
            <ac:spMk id="2" creationId="{00000000-0000-0000-0000-000000000000}"/>
          </ac:spMkLst>
        </pc:spChg>
        <pc:spChg chg="mod">
          <ac:chgData name="Scott Sink" userId="007532c1-63dd-4f29-9932-df3a9735f490" providerId="ADAL" clId="{C2997A85-FA0E-4A15-BC96-D9C164783C31}" dt="2023-06-02T19:47:12.952" v="271" actId="20577"/>
          <ac:spMkLst>
            <pc:docMk/>
            <pc:sldMk cId="3858186052" sldId="3617"/>
            <ac:spMk id="3" creationId="{5CB5E778-EB37-08BC-8A65-E0A5BEF24F5F}"/>
          </ac:spMkLst>
        </pc:spChg>
        <pc:spChg chg="mod">
          <ac:chgData name="Scott Sink" userId="007532c1-63dd-4f29-9932-df3a9735f490" providerId="ADAL" clId="{C2997A85-FA0E-4A15-BC96-D9C164783C31}" dt="2023-06-02T19:44:59.491" v="242" actId="14100"/>
          <ac:spMkLst>
            <pc:docMk/>
            <pc:sldMk cId="3858186052" sldId="3617"/>
            <ac:spMk id="6" creationId="{C5018F96-B3E6-1C7C-503A-A6964F5B4827}"/>
          </ac:spMkLst>
        </pc:spChg>
        <pc:spChg chg="mod">
          <ac:chgData name="Scott Sink" userId="007532c1-63dd-4f29-9932-df3a9735f490" providerId="ADAL" clId="{C2997A85-FA0E-4A15-BC96-D9C164783C31}" dt="2023-06-02T19:41:27.521" v="101" actId="14100"/>
          <ac:spMkLst>
            <pc:docMk/>
            <pc:sldMk cId="3858186052" sldId="3617"/>
            <ac:spMk id="10" creationId="{B47D77AC-10E5-F7CA-1821-CA4162CCE788}"/>
          </ac:spMkLst>
        </pc:spChg>
        <pc:spChg chg="add mod">
          <ac:chgData name="Scott Sink" userId="007532c1-63dd-4f29-9932-df3a9735f490" providerId="ADAL" clId="{C2997A85-FA0E-4A15-BC96-D9C164783C31}" dt="2023-06-02T19:46:44.519" v="255" actId="1076"/>
          <ac:spMkLst>
            <pc:docMk/>
            <pc:sldMk cId="3858186052" sldId="3617"/>
            <ac:spMk id="13" creationId="{D541DAC8-5E3F-B4ED-FB9B-45E6479E107E}"/>
          </ac:spMkLst>
        </pc:spChg>
        <pc:spChg chg="add del mod">
          <ac:chgData name="Scott Sink" userId="007532c1-63dd-4f29-9932-df3a9735f490" providerId="ADAL" clId="{C2997A85-FA0E-4A15-BC96-D9C164783C31}" dt="2023-06-02T19:42:42.885" v="135" actId="14100"/>
          <ac:spMkLst>
            <pc:docMk/>
            <pc:sldMk cId="3858186052" sldId="3617"/>
            <ac:spMk id="16" creationId="{11CCDDD1-47EC-CB45-F196-95722069A30A}"/>
          </ac:spMkLst>
        </pc:spChg>
        <pc:spChg chg="del mod">
          <ac:chgData name="Scott Sink" userId="007532c1-63dd-4f29-9932-df3a9735f490" providerId="ADAL" clId="{C2997A85-FA0E-4A15-BC96-D9C164783C31}" dt="2023-06-02T19:43:15.635" v="148"/>
          <ac:spMkLst>
            <pc:docMk/>
            <pc:sldMk cId="3858186052" sldId="3617"/>
            <ac:spMk id="19" creationId="{56B87C1C-A03F-D739-5E61-58304DA481D8}"/>
          </ac:spMkLst>
        </pc:spChg>
        <pc:spChg chg="mod">
          <ac:chgData name="Scott Sink" userId="007532c1-63dd-4f29-9932-df3a9735f490" providerId="ADAL" clId="{C2997A85-FA0E-4A15-BC96-D9C164783C31}" dt="2023-06-02T19:41:40.852" v="119" actId="20577"/>
          <ac:spMkLst>
            <pc:docMk/>
            <pc:sldMk cId="3858186052" sldId="3617"/>
            <ac:spMk id="22" creationId="{693B6C1D-D021-4EC9-AC66-7E12E6EAE67F}"/>
          </ac:spMkLst>
        </pc:spChg>
        <pc:spChg chg="mod">
          <ac:chgData name="Scott Sink" userId="007532c1-63dd-4f29-9932-df3a9735f490" providerId="ADAL" clId="{C2997A85-FA0E-4A15-BC96-D9C164783C31}" dt="2023-06-02T19:45:44.852" v="246" actId="20577"/>
          <ac:spMkLst>
            <pc:docMk/>
            <pc:sldMk cId="3858186052" sldId="3617"/>
            <ac:spMk id="23" creationId="{4EA0D366-CE29-FBA8-36F6-A526371ECC4E}"/>
          </ac:spMkLst>
        </pc:spChg>
        <pc:picChg chg="mod">
          <ac:chgData name="Scott Sink" userId="007532c1-63dd-4f29-9932-df3a9735f490" providerId="ADAL" clId="{C2997A85-FA0E-4A15-BC96-D9C164783C31}" dt="2023-06-02T19:46:59.175" v="258" actId="1076"/>
          <ac:picMkLst>
            <pc:docMk/>
            <pc:sldMk cId="3858186052" sldId="3617"/>
            <ac:picMk id="4" creationId="{3278AFBD-8904-291A-2A95-535DC0C61C7F}"/>
          </ac:picMkLst>
        </pc:picChg>
        <pc:picChg chg="add del mod">
          <ac:chgData name="Scott Sink" userId="007532c1-63dd-4f29-9932-df3a9735f490" providerId="ADAL" clId="{C2997A85-FA0E-4A15-BC96-D9C164783C31}" dt="2023-06-02T19:42:25.269" v="129"/>
          <ac:picMkLst>
            <pc:docMk/>
            <pc:sldMk cId="3858186052" sldId="3617"/>
            <ac:picMk id="7" creationId="{AE985393-AD5A-A5EB-5909-6ACF1754318B}"/>
          </ac:picMkLst>
        </pc:picChg>
        <pc:picChg chg="add mod">
          <ac:chgData name="Scott Sink" userId="007532c1-63dd-4f29-9932-df3a9735f490" providerId="ADAL" clId="{C2997A85-FA0E-4A15-BC96-D9C164783C31}" dt="2023-06-02T19:42:59.226" v="139" actId="1076"/>
          <ac:picMkLst>
            <pc:docMk/>
            <pc:sldMk cId="3858186052" sldId="3617"/>
            <ac:picMk id="8" creationId="{25E45EB0-482D-D81E-8519-364A604371DB}"/>
          </ac:picMkLst>
        </pc:picChg>
        <pc:picChg chg="add mod modCrop">
          <ac:chgData name="Scott Sink" userId="007532c1-63dd-4f29-9932-df3a9735f490" providerId="ADAL" clId="{C2997A85-FA0E-4A15-BC96-D9C164783C31}" dt="2023-06-02T19:44:17.802" v="188" actId="1076"/>
          <ac:picMkLst>
            <pc:docMk/>
            <pc:sldMk cId="3858186052" sldId="3617"/>
            <ac:picMk id="11" creationId="{C2D9B6FE-0BF0-6B49-D43F-2ABAEC69EEC2}"/>
          </ac:picMkLst>
        </pc:picChg>
        <pc:picChg chg="del">
          <ac:chgData name="Scott Sink" userId="007532c1-63dd-4f29-9932-df3a9735f490" providerId="ADAL" clId="{C2997A85-FA0E-4A15-BC96-D9C164783C31}" dt="2023-06-02T19:43:15.635" v="146" actId="478"/>
          <ac:picMkLst>
            <pc:docMk/>
            <pc:sldMk cId="3858186052" sldId="3617"/>
            <ac:picMk id="12" creationId="{521E15FE-920F-415A-3FC3-E38436698BAB}"/>
          </ac:picMkLst>
        </pc:picChg>
        <pc:picChg chg="del">
          <ac:chgData name="Scott Sink" userId="007532c1-63dd-4f29-9932-df3a9735f490" providerId="ADAL" clId="{C2997A85-FA0E-4A15-BC96-D9C164783C31}" dt="2023-06-02T19:43:18.239" v="149" actId="478"/>
          <ac:picMkLst>
            <pc:docMk/>
            <pc:sldMk cId="3858186052" sldId="3617"/>
            <ac:picMk id="21" creationId="{2D47B59B-5914-AD91-AD4B-1A595DEEE575}"/>
          </ac:picMkLst>
        </pc:picChg>
        <pc:picChg chg="add del">
          <ac:chgData name="Scott Sink" userId="007532c1-63dd-4f29-9932-df3a9735f490" providerId="ADAL" clId="{C2997A85-FA0E-4A15-BC96-D9C164783C31}" dt="2023-06-02T19:41:58.546" v="122" actId="478"/>
          <ac:picMkLst>
            <pc:docMk/>
            <pc:sldMk cId="3858186052" sldId="3617"/>
            <ac:picMk id="24" creationId="{A6A71D98-28D0-E3E9-275A-21B2E8EDB4D0}"/>
          </ac:picMkLst>
        </pc:picChg>
      </pc:sldChg>
      <pc:sldChg chg="delSp modSp mod">
        <pc:chgData name="Scott Sink" userId="007532c1-63dd-4f29-9932-df3a9735f490" providerId="ADAL" clId="{C2997A85-FA0E-4A15-BC96-D9C164783C31}" dt="2023-06-02T19:53:13.759" v="598" actId="1076"/>
        <pc:sldMkLst>
          <pc:docMk/>
          <pc:sldMk cId="3939640140" sldId="3618"/>
        </pc:sldMkLst>
        <pc:spChg chg="mod">
          <ac:chgData name="Scott Sink" userId="007532c1-63dd-4f29-9932-df3a9735f490" providerId="ADAL" clId="{C2997A85-FA0E-4A15-BC96-D9C164783C31}" dt="2023-06-02T19:53:13.759" v="598" actId="1076"/>
          <ac:spMkLst>
            <pc:docMk/>
            <pc:sldMk cId="3939640140" sldId="3618"/>
            <ac:spMk id="3" creationId="{A5A8E09D-F143-AC8C-4127-0ABEDD96C64B}"/>
          </ac:spMkLst>
        </pc:spChg>
        <pc:spChg chg="del">
          <ac:chgData name="Scott Sink" userId="007532c1-63dd-4f29-9932-df3a9735f490" providerId="ADAL" clId="{C2997A85-FA0E-4A15-BC96-D9C164783C31}" dt="2023-06-02T19:47:57.085" v="317" actId="478"/>
          <ac:spMkLst>
            <pc:docMk/>
            <pc:sldMk cId="3939640140" sldId="3618"/>
            <ac:spMk id="5" creationId="{BD119F5D-19E2-ECEF-100F-32C90BA4E4C8}"/>
          </ac:spMkLst>
        </pc:spChg>
        <pc:spChg chg="del">
          <ac:chgData name="Scott Sink" userId="007532c1-63dd-4f29-9932-df3a9735f490" providerId="ADAL" clId="{C2997A85-FA0E-4A15-BC96-D9C164783C31}" dt="2023-06-02T19:47:58.602" v="318" actId="478"/>
          <ac:spMkLst>
            <pc:docMk/>
            <pc:sldMk cId="3939640140" sldId="3618"/>
            <ac:spMk id="6" creationId="{A568D454-ADD5-6F63-CA8A-7EE4FE147F51}"/>
          </ac:spMkLst>
        </pc:spChg>
      </pc:sldChg>
      <pc:sldChg chg="del">
        <pc:chgData name="Scott Sink" userId="007532c1-63dd-4f29-9932-df3a9735f490" providerId="ADAL" clId="{C2997A85-FA0E-4A15-BC96-D9C164783C31}" dt="2023-06-02T20:03:54.786" v="785" actId="47"/>
        <pc:sldMkLst>
          <pc:docMk/>
          <pc:sldMk cId="4090951317" sldId="3623"/>
        </pc:sldMkLst>
      </pc:sldChg>
      <pc:sldChg chg="del">
        <pc:chgData name="Scott Sink" userId="007532c1-63dd-4f29-9932-df3a9735f490" providerId="ADAL" clId="{C2997A85-FA0E-4A15-BC96-D9C164783C31}" dt="2023-06-02T20:04:26.154" v="807" actId="47"/>
        <pc:sldMkLst>
          <pc:docMk/>
          <pc:sldMk cId="1989919581" sldId="3624"/>
        </pc:sldMkLst>
      </pc:sldChg>
      <pc:sldChg chg="del">
        <pc:chgData name="Scott Sink" userId="007532c1-63dd-4f29-9932-df3a9735f490" providerId="ADAL" clId="{C2997A85-FA0E-4A15-BC96-D9C164783C31}" dt="2023-06-02T20:04:21.074" v="796" actId="47"/>
        <pc:sldMkLst>
          <pc:docMk/>
          <pc:sldMk cId="1357997351" sldId="3626"/>
        </pc:sldMkLst>
      </pc:sldChg>
      <pc:sldChg chg="del">
        <pc:chgData name="Scott Sink" userId="007532c1-63dd-4f29-9932-df3a9735f490" providerId="ADAL" clId="{C2997A85-FA0E-4A15-BC96-D9C164783C31}" dt="2023-06-02T20:04:23.107" v="799" actId="47"/>
        <pc:sldMkLst>
          <pc:docMk/>
          <pc:sldMk cId="3912324480" sldId="3627"/>
        </pc:sldMkLst>
      </pc:sldChg>
      <pc:sldChg chg="del">
        <pc:chgData name="Scott Sink" userId="007532c1-63dd-4f29-9932-df3a9735f490" providerId="ADAL" clId="{C2997A85-FA0E-4A15-BC96-D9C164783C31}" dt="2023-06-02T20:04:23.509" v="800" actId="47"/>
        <pc:sldMkLst>
          <pc:docMk/>
          <pc:sldMk cId="1123099622" sldId="3628"/>
        </pc:sldMkLst>
      </pc:sldChg>
      <pc:sldChg chg="del">
        <pc:chgData name="Scott Sink" userId="007532c1-63dd-4f29-9932-df3a9735f490" providerId="ADAL" clId="{C2997A85-FA0E-4A15-BC96-D9C164783C31}" dt="2023-06-02T20:04:23.889" v="801" actId="47"/>
        <pc:sldMkLst>
          <pc:docMk/>
          <pc:sldMk cId="168551946" sldId="3629"/>
        </pc:sldMkLst>
      </pc:sldChg>
      <pc:sldChg chg="del">
        <pc:chgData name="Scott Sink" userId="007532c1-63dd-4f29-9932-df3a9735f490" providerId="ADAL" clId="{C2997A85-FA0E-4A15-BC96-D9C164783C31}" dt="2023-06-02T20:04:24.306" v="802" actId="47"/>
        <pc:sldMkLst>
          <pc:docMk/>
          <pc:sldMk cId="2387595628" sldId="3630"/>
        </pc:sldMkLst>
      </pc:sldChg>
      <pc:sldChg chg="del">
        <pc:chgData name="Scott Sink" userId="007532c1-63dd-4f29-9932-df3a9735f490" providerId="ADAL" clId="{C2997A85-FA0E-4A15-BC96-D9C164783C31}" dt="2023-06-02T20:04:24.802" v="803" actId="47"/>
        <pc:sldMkLst>
          <pc:docMk/>
          <pc:sldMk cId="628219299" sldId="3631"/>
        </pc:sldMkLst>
      </pc:sldChg>
      <pc:sldChg chg="del">
        <pc:chgData name="Scott Sink" userId="007532c1-63dd-4f29-9932-df3a9735f490" providerId="ADAL" clId="{C2997A85-FA0E-4A15-BC96-D9C164783C31}" dt="2023-06-02T20:04:25.405" v="805" actId="47"/>
        <pc:sldMkLst>
          <pc:docMk/>
          <pc:sldMk cId="1814918814" sldId="3632"/>
        </pc:sldMkLst>
      </pc:sldChg>
      <pc:sldChg chg="del">
        <pc:chgData name="Scott Sink" userId="007532c1-63dd-4f29-9932-df3a9735f490" providerId="ADAL" clId="{C2997A85-FA0E-4A15-BC96-D9C164783C31}" dt="2023-06-02T20:04:27.697" v="811" actId="47"/>
        <pc:sldMkLst>
          <pc:docMk/>
          <pc:sldMk cId="584441069" sldId="3634"/>
        </pc:sldMkLst>
      </pc:sldChg>
      <pc:sldChg chg="del">
        <pc:chgData name="Scott Sink" userId="007532c1-63dd-4f29-9932-df3a9735f490" providerId="ADAL" clId="{C2997A85-FA0E-4A15-BC96-D9C164783C31}" dt="2023-06-02T20:04:28.035" v="812" actId="47"/>
        <pc:sldMkLst>
          <pc:docMk/>
          <pc:sldMk cId="2340664371" sldId="3635"/>
        </pc:sldMkLst>
      </pc:sldChg>
      <pc:sldChg chg="del">
        <pc:chgData name="Scott Sink" userId="007532c1-63dd-4f29-9932-df3a9735f490" providerId="ADAL" clId="{C2997A85-FA0E-4A15-BC96-D9C164783C31}" dt="2023-06-02T20:04:28.386" v="813" actId="47"/>
        <pc:sldMkLst>
          <pc:docMk/>
          <pc:sldMk cId="3953636968" sldId="3636"/>
        </pc:sldMkLst>
      </pc:sldChg>
      <pc:sldChg chg="del">
        <pc:chgData name="Scott Sink" userId="007532c1-63dd-4f29-9932-df3a9735f490" providerId="ADAL" clId="{C2997A85-FA0E-4A15-BC96-D9C164783C31}" dt="2023-06-02T20:04:29.019" v="814" actId="47"/>
        <pc:sldMkLst>
          <pc:docMk/>
          <pc:sldMk cId="4241288852" sldId="3637"/>
        </pc:sldMkLst>
      </pc:sldChg>
      <pc:sldChg chg="del">
        <pc:chgData name="Scott Sink" userId="007532c1-63dd-4f29-9932-df3a9735f490" providerId="ADAL" clId="{C2997A85-FA0E-4A15-BC96-D9C164783C31}" dt="2023-06-02T20:04:32.525" v="824" actId="47"/>
        <pc:sldMkLst>
          <pc:docMk/>
          <pc:sldMk cId="346339292" sldId="3638"/>
        </pc:sldMkLst>
      </pc:sldChg>
      <pc:sldChg chg="del">
        <pc:chgData name="Scott Sink" userId="007532c1-63dd-4f29-9932-df3a9735f490" providerId="ADAL" clId="{C2997A85-FA0E-4A15-BC96-D9C164783C31}" dt="2023-06-02T20:04:25.056" v="804" actId="47"/>
        <pc:sldMkLst>
          <pc:docMk/>
          <pc:sldMk cId="2295474388" sldId="3641"/>
        </pc:sldMkLst>
      </pc:sldChg>
      <pc:sldChg chg="del">
        <pc:chgData name="Scott Sink" userId="007532c1-63dd-4f29-9932-df3a9735f490" providerId="ADAL" clId="{C2997A85-FA0E-4A15-BC96-D9C164783C31}" dt="2023-06-02T20:04:27.335" v="810" actId="47"/>
        <pc:sldMkLst>
          <pc:docMk/>
          <pc:sldMk cId="1397055606" sldId="3642"/>
        </pc:sldMkLst>
      </pc:sldChg>
      <pc:sldChg chg="add del">
        <pc:chgData name="Scott Sink" userId="007532c1-63dd-4f29-9932-df3a9735f490" providerId="ADAL" clId="{C2997A85-FA0E-4A15-BC96-D9C164783C31}" dt="2023-06-02T20:05:02.207" v="863" actId="47"/>
        <pc:sldMkLst>
          <pc:docMk/>
          <pc:sldMk cId="820912285" sldId="3643"/>
        </pc:sldMkLst>
      </pc:sldChg>
      <pc:sldChg chg="add del">
        <pc:chgData name="Scott Sink" userId="007532c1-63dd-4f29-9932-df3a9735f490" providerId="ADAL" clId="{C2997A85-FA0E-4A15-BC96-D9C164783C31}" dt="2023-06-02T20:04:45.359" v="848" actId="47"/>
        <pc:sldMkLst>
          <pc:docMk/>
          <pc:sldMk cId="3272150657" sldId="3646"/>
        </pc:sldMkLst>
      </pc:sldChg>
      <pc:sldChg chg="add del">
        <pc:chgData name="Scott Sink" userId="007532c1-63dd-4f29-9932-df3a9735f490" providerId="ADAL" clId="{C2997A85-FA0E-4A15-BC96-D9C164783C31}" dt="2023-06-02T20:04:44.767" v="846" actId="47"/>
        <pc:sldMkLst>
          <pc:docMk/>
          <pc:sldMk cId="185777116" sldId="3648"/>
        </pc:sldMkLst>
      </pc:sldChg>
      <pc:sldChg chg="add del">
        <pc:chgData name="Scott Sink" userId="007532c1-63dd-4f29-9932-df3a9735f490" providerId="ADAL" clId="{C2997A85-FA0E-4A15-BC96-D9C164783C31}" dt="2023-06-02T20:04:45.069" v="847" actId="47"/>
        <pc:sldMkLst>
          <pc:docMk/>
          <pc:sldMk cId="2570695360" sldId="3651"/>
        </pc:sldMkLst>
      </pc:sldChg>
      <pc:sldChg chg="del">
        <pc:chgData name="Scott Sink" userId="007532c1-63dd-4f29-9932-df3a9735f490" providerId="ADAL" clId="{C2997A85-FA0E-4A15-BC96-D9C164783C31}" dt="2023-06-02T20:05:21.903" v="872" actId="47"/>
        <pc:sldMkLst>
          <pc:docMk/>
          <pc:sldMk cId="3947518335" sldId="3655"/>
        </pc:sldMkLst>
      </pc:sldChg>
      <pc:sldChg chg="del">
        <pc:chgData name="Scott Sink" userId="007532c1-63dd-4f29-9932-df3a9735f490" providerId="ADAL" clId="{C2997A85-FA0E-4A15-BC96-D9C164783C31}" dt="2023-06-02T20:04:06.047" v="791" actId="47"/>
        <pc:sldMkLst>
          <pc:docMk/>
          <pc:sldMk cId="3739493891" sldId="3657"/>
        </pc:sldMkLst>
      </pc:sldChg>
      <pc:sldChg chg="del">
        <pc:chgData name="Scott Sink" userId="007532c1-63dd-4f29-9932-df3a9735f490" providerId="ADAL" clId="{C2997A85-FA0E-4A15-BC96-D9C164783C31}" dt="2023-06-02T20:04:15.219" v="792" actId="47"/>
        <pc:sldMkLst>
          <pc:docMk/>
          <pc:sldMk cId="3863865067" sldId="3658"/>
        </pc:sldMkLst>
      </pc:sldChg>
      <pc:sldChg chg="del">
        <pc:chgData name="Scott Sink" userId="007532c1-63dd-4f29-9932-df3a9735f490" providerId="ADAL" clId="{C2997A85-FA0E-4A15-BC96-D9C164783C31}" dt="2023-06-02T20:03:58.386" v="787" actId="47"/>
        <pc:sldMkLst>
          <pc:docMk/>
          <pc:sldMk cId="1072721253" sldId="3659"/>
        </pc:sldMkLst>
      </pc:sldChg>
      <pc:sldChg chg="del">
        <pc:chgData name="Scott Sink" userId="007532c1-63dd-4f29-9932-df3a9735f490" providerId="ADAL" clId="{C2997A85-FA0E-4A15-BC96-D9C164783C31}" dt="2023-06-02T20:04:02.690" v="788" actId="47"/>
        <pc:sldMkLst>
          <pc:docMk/>
          <pc:sldMk cId="3398813940" sldId="3660"/>
        </pc:sldMkLst>
      </pc:sldChg>
      <pc:sldChg chg="del">
        <pc:chgData name="Scott Sink" userId="007532c1-63dd-4f29-9932-df3a9735f490" providerId="ADAL" clId="{C2997A85-FA0E-4A15-BC96-D9C164783C31}" dt="2023-06-02T20:04:03.800" v="789" actId="47"/>
        <pc:sldMkLst>
          <pc:docMk/>
          <pc:sldMk cId="3679005368" sldId="3661"/>
        </pc:sldMkLst>
      </pc:sldChg>
      <pc:sldChg chg="del">
        <pc:chgData name="Scott Sink" userId="007532c1-63dd-4f29-9932-df3a9735f490" providerId="ADAL" clId="{C2997A85-FA0E-4A15-BC96-D9C164783C31}" dt="2023-06-02T20:04:04.772" v="790" actId="47"/>
        <pc:sldMkLst>
          <pc:docMk/>
          <pc:sldMk cId="1146381394" sldId="3662"/>
        </pc:sldMkLst>
      </pc:sldChg>
      <pc:sldChg chg="del">
        <pc:chgData name="Scott Sink" userId="007532c1-63dd-4f29-9932-df3a9735f490" providerId="ADAL" clId="{C2997A85-FA0E-4A15-BC96-D9C164783C31}" dt="2023-06-02T20:04:19.900" v="794" actId="47"/>
        <pc:sldMkLst>
          <pc:docMk/>
          <pc:sldMk cId="2959633687" sldId="3663"/>
        </pc:sldMkLst>
      </pc:sldChg>
      <pc:sldChg chg="del">
        <pc:chgData name="Scott Sink" userId="007532c1-63dd-4f29-9932-df3a9735f490" providerId="ADAL" clId="{C2997A85-FA0E-4A15-BC96-D9C164783C31}" dt="2023-06-02T20:04:22.486" v="798" actId="47"/>
        <pc:sldMkLst>
          <pc:docMk/>
          <pc:sldMk cId="2028695767" sldId="3664"/>
        </pc:sldMkLst>
      </pc:sldChg>
      <pc:sldChg chg="del">
        <pc:chgData name="Scott Sink" userId="007532c1-63dd-4f29-9932-df3a9735f490" providerId="ADAL" clId="{C2997A85-FA0E-4A15-BC96-D9C164783C31}" dt="2023-06-02T20:04:26.904" v="809" actId="47"/>
        <pc:sldMkLst>
          <pc:docMk/>
          <pc:sldMk cId="1419495277" sldId="3666"/>
        </pc:sldMkLst>
      </pc:sldChg>
      <pc:sldChg chg="del">
        <pc:chgData name="Scott Sink" userId="007532c1-63dd-4f29-9932-df3a9735f490" providerId="ADAL" clId="{C2997A85-FA0E-4A15-BC96-D9C164783C31}" dt="2023-06-02T20:04:21.819" v="797" actId="47"/>
        <pc:sldMkLst>
          <pc:docMk/>
          <pc:sldMk cId="4128266154" sldId="3667"/>
        </pc:sldMkLst>
      </pc:sldChg>
      <pc:sldChg chg="add del">
        <pc:chgData name="Scott Sink" userId="007532c1-63dd-4f29-9932-df3a9735f490" providerId="ADAL" clId="{C2997A85-FA0E-4A15-BC96-D9C164783C31}" dt="2023-06-02T20:04:56.535" v="861" actId="47"/>
        <pc:sldMkLst>
          <pc:docMk/>
          <pc:sldMk cId="2086568190" sldId="3668"/>
        </pc:sldMkLst>
      </pc:sldChg>
      <pc:sldChg chg="add del">
        <pc:chgData name="Scott Sink" userId="007532c1-63dd-4f29-9932-df3a9735f490" providerId="ADAL" clId="{C2997A85-FA0E-4A15-BC96-D9C164783C31}" dt="2023-06-02T20:04:51.024" v="858" actId="47"/>
        <pc:sldMkLst>
          <pc:docMk/>
          <pc:sldMk cId="1298455054" sldId="3669"/>
        </pc:sldMkLst>
      </pc:sldChg>
      <pc:sldChg chg="add del">
        <pc:chgData name="Scott Sink" userId="007532c1-63dd-4f29-9932-df3a9735f490" providerId="ADAL" clId="{C2997A85-FA0E-4A15-BC96-D9C164783C31}" dt="2023-06-02T20:05:05.657" v="864" actId="47"/>
        <pc:sldMkLst>
          <pc:docMk/>
          <pc:sldMk cId="3811734949" sldId="3670"/>
        </pc:sldMkLst>
      </pc:sldChg>
      <pc:sldChg chg="add del">
        <pc:chgData name="Scott Sink" userId="007532c1-63dd-4f29-9932-df3a9735f490" providerId="ADAL" clId="{C2997A85-FA0E-4A15-BC96-D9C164783C31}" dt="2023-06-02T20:05:06.930" v="865" actId="47"/>
        <pc:sldMkLst>
          <pc:docMk/>
          <pc:sldMk cId="2021225452" sldId="3671"/>
        </pc:sldMkLst>
      </pc:sldChg>
      <pc:sldChg chg="add del">
        <pc:chgData name="Scott Sink" userId="007532c1-63dd-4f29-9932-df3a9735f490" providerId="ADAL" clId="{C2997A85-FA0E-4A15-BC96-D9C164783C31}" dt="2023-06-02T20:05:07.535" v="866" actId="47"/>
        <pc:sldMkLst>
          <pc:docMk/>
          <pc:sldMk cId="3881647464" sldId="3672"/>
        </pc:sldMkLst>
      </pc:sldChg>
      <pc:sldChg chg="add del">
        <pc:chgData name="Scott Sink" userId="007532c1-63dd-4f29-9932-df3a9735f490" providerId="ADAL" clId="{C2997A85-FA0E-4A15-BC96-D9C164783C31}" dt="2023-06-02T20:05:08.731" v="867" actId="47"/>
        <pc:sldMkLst>
          <pc:docMk/>
          <pc:sldMk cId="2479828351" sldId="3673"/>
        </pc:sldMkLst>
      </pc:sldChg>
      <pc:sldChg chg="add del">
        <pc:chgData name="Scott Sink" userId="007532c1-63dd-4f29-9932-df3a9735f490" providerId="ADAL" clId="{C2997A85-FA0E-4A15-BC96-D9C164783C31}" dt="2023-06-02T20:05:09.769" v="868" actId="47"/>
        <pc:sldMkLst>
          <pc:docMk/>
          <pc:sldMk cId="2182207974" sldId="3674"/>
        </pc:sldMkLst>
      </pc:sldChg>
      <pc:sldChg chg="add del">
        <pc:chgData name="Scott Sink" userId="007532c1-63dd-4f29-9932-df3a9735f490" providerId="ADAL" clId="{C2997A85-FA0E-4A15-BC96-D9C164783C31}" dt="2023-06-02T20:05:12.469" v="869" actId="47"/>
        <pc:sldMkLst>
          <pc:docMk/>
          <pc:sldMk cId="606440969" sldId="3675"/>
        </pc:sldMkLst>
      </pc:sldChg>
      <pc:sldChg chg="add del">
        <pc:chgData name="Scott Sink" userId="007532c1-63dd-4f29-9932-df3a9735f490" providerId="ADAL" clId="{C2997A85-FA0E-4A15-BC96-D9C164783C31}" dt="2023-06-02T20:04:46.605" v="851" actId="47"/>
        <pc:sldMkLst>
          <pc:docMk/>
          <pc:sldMk cId="2306352246" sldId="3676"/>
        </pc:sldMkLst>
      </pc:sldChg>
      <pc:sldChg chg="add del">
        <pc:chgData name="Scott Sink" userId="007532c1-63dd-4f29-9932-df3a9735f490" providerId="ADAL" clId="{C2997A85-FA0E-4A15-BC96-D9C164783C31}" dt="2023-06-02T20:04:46.238" v="850" actId="47"/>
        <pc:sldMkLst>
          <pc:docMk/>
          <pc:sldMk cId="278842996" sldId="3677"/>
        </pc:sldMkLst>
      </pc:sldChg>
      <pc:sldChg chg="add del">
        <pc:chgData name="Scott Sink" userId="007532c1-63dd-4f29-9932-df3a9735f490" providerId="ADAL" clId="{C2997A85-FA0E-4A15-BC96-D9C164783C31}" dt="2023-06-02T20:04:45.719" v="849" actId="47"/>
        <pc:sldMkLst>
          <pc:docMk/>
          <pc:sldMk cId="1312695074" sldId="3678"/>
        </pc:sldMkLst>
      </pc:sldChg>
      <pc:sldChg chg="add del">
        <pc:chgData name="Scott Sink" userId="007532c1-63dd-4f29-9932-df3a9735f490" providerId="ADAL" clId="{C2997A85-FA0E-4A15-BC96-D9C164783C31}" dt="2023-06-02T20:05:18.746" v="870" actId="47"/>
        <pc:sldMkLst>
          <pc:docMk/>
          <pc:sldMk cId="2538638" sldId="3680"/>
        </pc:sldMkLst>
      </pc:sldChg>
      <pc:sldChg chg="del">
        <pc:chgData name="Scott Sink" userId="007532c1-63dd-4f29-9932-df3a9735f490" providerId="ADAL" clId="{C2997A85-FA0E-4A15-BC96-D9C164783C31}" dt="2023-06-02T20:03:56.743" v="786" actId="47"/>
        <pc:sldMkLst>
          <pc:docMk/>
          <pc:sldMk cId="2271784520" sldId="3681"/>
        </pc:sldMkLst>
      </pc:sldChg>
      <pc:sldChg chg="add del">
        <pc:chgData name="Scott Sink" userId="007532c1-63dd-4f29-9932-df3a9735f490" providerId="ADAL" clId="{C2997A85-FA0E-4A15-BC96-D9C164783C31}" dt="2023-06-02T20:05:20.695" v="871" actId="47"/>
        <pc:sldMkLst>
          <pc:docMk/>
          <pc:sldMk cId="3948270344" sldId="3682"/>
        </pc:sldMkLst>
      </pc:sldChg>
      <pc:sldChg chg="modSp mod">
        <pc:chgData name="Scott Sink" userId="007532c1-63dd-4f29-9932-df3a9735f490" providerId="ADAL" clId="{C2997A85-FA0E-4A15-BC96-D9C164783C31}" dt="2023-06-02T20:14:02.332" v="1051" actId="20577"/>
        <pc:sldMkLst>
          <pc:docMk/>
          <pc:sldMk cId="3083674499" sldId="3683"/>
        </pc:sldMkLst>
        <pc:spChg chg="mod">
          <ac:chgData name="Scott Sink" userId="007532c1-63dd-4f29-9932-df3a9735f490" providerId="ADAL" clId="{C2997A85-FA0E-4A15-BC96-D9C164783C31}" dt="2023-06-02T20:14:02.332" v="1051" actId="20577"/>
          <ac:spMkLst>
            <pc:docMk/>
            <pc:sldMk cId="3083674499" sldId="3683"/>
            <ac:spMk id="9" creationId="{5ACBF105-37A5-4EFF-9212-3A4FB813785F}"/>
          </ac:spMkLst>
        </pc:spChg>
      </pc:sldChg>
      <pc:sldChg chg="del">
        <pc:chgData name="Scott Sink" userId="007532c1-63dd-4f29-9932-df3a9735f490" providerId="ADAL" clId="{C2997A85-FA0E-4A15-BC96-D9C164783C31}" dt="2023-06-02T20:04:18.352" v="793" actId="47"/>
        <pc:sldMkLst>
          <pc:docMk/>
          <pc:sldMk cId="1332262258" sldId="3684"/>
        </pc:sldMkLst>
      </pc:sldChg>
      <pc:sldChg chg="del">
        <pc:chgData name="Scott Sink" userId="007532c1-63dd-4f29-9932-df3a9735f490" providerId="ADAL" clId="{C2997A85-FA0E-4A15-BC96-D9C164783C31}" dt="2023-06-02T20:04:25.803" v="806" actId="47"/>
        <pc:sldMkLst>
          <pc:docMk/>
          <pc:sldMk cId="1499946056" sldId="3685"/>
        </pc:sldMkLst>
      </pc:sldChg>
      <pc:sldChg chg="del">
        <pc:chgData name="Scott Sink" userId="007532c1-63dd-4f29-9932-df3a9735f490" providerId="ADAL" clId="{C2997A85-FA0E-4A15-BC96-D9C164783C31}" dt="2023-06-02T20:04:32.189" v="823" actId="47"/>
        <pc:sldMkLst>
          <pc:docMk/>
          <pc:sldMk cId="2305056567" sldId="3686"/>
        </pc:sldMkLst>
      </pc:sldChg>
      <pc:sldChg chg="add del">
        <pc:chgData name="Scott Sink" userId="007532c1-63dd-4f29-9932-df3a9735f490" providerId="ADAL" clId="{C2997A85-FA0E-4A15-BC96-D9C164783C31}" dt="2023-06-02T20:14:14.542" v="1052" actId="47"/>
        <pc:sldMkLst>
          <pc:docMk/>
          <pc:sldMk cId="355314602" sldId="3687"/>
        </pc:sldMkLst>
      </pc:sldChg>
      <pc:sldChg chg="addSp delSp modSp new mod">
        <pc:chgData name="Scott Sink" userId="007532c1-63dd-4f29-9932-df3a9735f490" providerId="ADAL" clId="{C2997A85-FA0E-4A15-BC96-D9C164783C31}" dt="2023-06-02T20:00:24.755" v="744" actId="20577"/>
        <pc:sldMkLst>
          <pc:docMk/>
          <pc:sldMk cId="528263807" sldId="3688"/>
        </pc:sldMkLst>
        <pc:spChg chg="del mod">
          <ac:chgData name="Scott Sink" userId="007532c1-63dd-4f29-9932-df3a9735f490" providerId="ADAL" clId="{C2997A85-FA0E-4A15-BC96-D9C164783C31}" dt="2023-06-02T19:55:38.370" v="611" actId="478"/>
          <ac:spMkLst>
            <pc:docMk/>
            <pc:sldMk cId="528263807" sldId="3688"/>
            <ac:spMk id="2" creationId="{DDF3CD6F-3E79-1229-EE67-1323CF9966FE}"/>
          </ac:spMkLst>
        </pc:spChg>
        <pc:spChg chg="del">
          <ac:chgData name="Scott Sink" userId="007532c1-63dd-4f29-9932-df3a9735f490" providerId="ADAL" clId="{C2997A85-FA0E-4A15-BC96-D9C164783C31}" dt="2023-06-02T19:54:44.945" v="600" actId="931"/>
          <ac:spMkLst>
            <pc:docMk/>
            <pc:sldMk cId="528263807" sldId="3688"/>
            <ac:spMk id="3" creationId="{CEE99911-812E-39E4-C25C-10E1CBBFEEED}"/>
          </ac:spMkLst>
        </pc:spChg>
        <pc:spChg chg="add del mod">
          <ac:chgData name="Scott Sink" userId="007532c1-63dd-4f29-9932-df3a9735f490" providerId="ADAL" clId="{C2997A85-FA0E-4A15-BC96-D9C164783C31}" dt="2023-06-02T19:55:12.328" v="603" actId="931"/>
          <ac:spMkLst>
            <pc:docMk/>
            <pc:sldMk cId="528263807" sldId="3688"/>
            <ac:spMk id="8" creationId="{18BFCA25-A8F8-B5B0-CE0C-A60795AE8F22}"/>
          </ac:spMkLst>
        </pc:spChg>
        <pc:spChg chg="add mod">
          <ac:chgData name="Scott Sink" userId="007532c1-63dd-4f29-9932-df3a9735f490" providerId="ADAL" clId="{C2997A85-FA0E-4A15-BC96-D9C164783C31}" dt="2023-06-02T20:00:24.755" v="744" actId="20577"/>
          <ac:spMkLst>
            <pc:docMk/>
            <pc:sldMk cId="528263807" sldId="3688"/>
            <ac:spMk id="11" creationId="{379F6106-0579-E644-C85A-0BA665F498EA}"/>
          </ac:spMkLst>
        </pc:spChg>
        <pc:picChg chg="add del mod">
          <ac:chgData name="Scott Sink" userId="007532c1-63dd-4f29-9932-df3a9735f490" providerId="ADAL" clId="{C2997A85-FA0E-4A15-BC96-D9C164783C31}" dt="2023-06-02T19:55:02.775" v="602" actId="478"/>
          <ac:picMkLst>
            <pc:docMk/>
            <pc:sldMk cId="528263807" sldId="3688"/>
            <ac:picMk id="6" creationId="{00605AB9-FD52-1E26-FB22-A9D5690E300E}"/>
          </ac:picMkLst>
        </pc:picChg>
        <pc:picChg chg="add mod">
          <ac:chgData name="Scott Sink" userId="007532c1-63dd-4f29-9932-df3a9735f490" providerId="ADAL" clId="{C2997A85-FA0E-4A15-BC96-D9C164783C31}" dt="2023-06-02T20:00:13.152" v="742" actId="14100"/>
          <ac:picMkLst>
            <pc:docMk/>
            <pc:sldMk cId="528263807" sldId="3688"/>
            <ac:picMk id="10" creationId="{C124FF29-7452-154A-4EF6-770BA05AD09C}"/>
          </ac:picMkLst>
        </pc:picChg>
      </pc:sldChg>
      <pc:sldChg chg="add">
        <pc:chgData name="Scott Sink" userId="007532c1-63dd-4f29-9932-df3a9735f490" providerId="ADAL" clId="{C2997A85-FA0E-4A15-BC96-D9C164783C31}" dt="2023-06-03T23:51:06.651" v="1054"/>
        <pc:sldMkLst>
          <pc:docMk/>
          <pc:sldMk cId="2799686858" sldId="3689"/>
        </pc:sldMkLst>
      </pc:sldChg>
      <pc:sldChg chg="add">
        <pc:chgData name="Scott Sink" userId="007532c1-63dd-4f29-9932-df3a9735f490" providerId="ADAL" clId="{C2997A85-FA0E-4A15-BC96-D9C164783C31}" dt="2023-06-03T23:51:08.637" v="1056"/>
        <pc:sldMkLst>
          <pc:docMk/>
          <pc:sldMk cId="968880051" sldId="3690"/>
        </pc:sldMkLst>
      </pc:sldChg>
      <pc:sldChg chg="add">
        <pc:chgData name="Scott Sink" userId="007532c1-63dd-4f29-9932-df3a9735f490" providerId="ADAL" clId="{C2997A85-FA0E-4A15-BC96-D9C164783C31}" dt="2023-06-03T23:51:12.553" v="1058"/>
        <pc:sldMkLst>
          <pc:docMk/>
          <pc:sldMk cId="3499263705" sldId="3691"/>
        </pc:sldMkLst>
      </pc:sldChg>
      <pc:sldChg chg="add">
        <pc:chgData name="Scott Sink" userId="007532c1-63dd-4f29-9932-df3a9735f490" providerId="ADAL" clId="{C2997A85-FA0E-4A15-BC96-D9C164783C31}" dt="2023-06-03T23:51:14.187" v="1060"/>
        <pc:sldMkLst>
          <pc:docMk/>
          <pc:sldMk cId="1139212183" sldId="3692"/>
        </pc:sldMkLst>
      </pc:sldChg>
      <pc:sldChg chg="add">
        <pc:chgData name="Scott Sink" userId="007532c1-63dd-4f29-9932-df3a9735f490" providerId="ADAL" clId="{C2997A85-FA0E-4A15-BC96-D9C164783C31}" dt="2023-06-03T23:51:16.366" v="1062"/>
        <pc:sldMkLst>
          <pc:docMk/>
          <pc:sldMk cId="2386247978" sldId="3693"/>
        </pc:sldMkLst>
      </pc:sldChg>
      <pc:sldChg chg="add">
        <pc:chgData name="Scott Sink" userId="007532c1-63dd-4f29-9932-df3a9735f490" providerId="ADAL" clId="{C2997A85-FA0E-4A15-BC96-D9C164783C31}" dt="2023-06-03T23:51:18.303" v="1064"/>
        <pc:sldMkLst>
          <pc:docMk/>
          <pc:sldMk cId="1983506577" sldId="3694"/>
        </pc:sldMkLst>
      </pc:sldChg>
      <pc:sldChg chg="add">
        <pc:chgData name="Scott Sink" userId="007532c1-63dd-4f29-9932-df3a9735f490" providerId="ADAL" clId="{C2997A85-FA0E-4A15-BC96-D9C164783C31}" dt="2023-06-03T23:51:20.803" v="1066"/>
        <pc:sldMkLst>
          <pc:docMk/>
          <pc:sldMk cId="3009266004" sldId="3695"/>
        </pc:sldMkLst>
      </pc:sldChg>
      <pc:sldChg chg="add">
        <pc:chgData name="Scott Sink" userId="007532c1-63dd-4f29-9932-df3a9735f490" providerId="ADAL" clId="{C2997A85-FA0E-4A15-BC96-D9C164783C31}" dt="2023-06-03T23:51:22.060" v="1068"/>
        <pc:sldMkLst>
          <pc:docMk/>
          <pc:sldMk cId="2565760412" sldId="3696"/>
        </pc:sldMkLst>
      </pc:sldChg>
      <pc:sldChg chg="add">
        <pc:chgData name="Scott Sink" userId="007532c1-63dd-4f29-9932-df3a9735f490" providerId="ADAL" clId="{C2997A85-FA0E-4A15-BC96-D9C164783C31}" dt="2023-06-03T23:51:23.457" v="1070"/>
        <pc:sldMkLst>
          <pc:docMk/>
          <pc:sldMk cId="3111554149" sldId="3697"/>
        </pc:sldMkLst>
      </pc:sldChg>
      <pc:sldChg chg="add">
        <pc:chgData name="Scott Sink" userId="007532c1-63dd-4f29-9932-df3a9735f490" providerId="ADAL" clId="{C2997A85-FA0E-4A15-BC96-D9C164783C31}" dt="2023-06-03T23:51:24.936" v="1072"/>
        <pc:sldMkLst>
          <pc:docMk/>
          <pc:sldMk cId="2504360793" sldId="3698"/>
        </pc:sldMkLst>
      </pc:sldChg>
      <pc:sldChg chg="add">
        <pc:chgData name="Scott Sink" userId="007532c1-63dd-4f29-9932-df3a9735f490" providerId="ADAL" clId="{C2997A85-FA0E-4A15-BC96-D9C164783C31}" dt="2023-06-03T23:51:27.070" v="1074"/>
        <pc:sldMkLst>
          <pc:docMk/>
          <pc:sldMk cId="3766282110" sldId="3699"/>
        </pc:sldMkLst>
      </pc:sldChg>
      <pc:sldChg chg="add">
        <pc:chgData name="Scott Sink" userId="007532c1-63dd-4f29-9932-df3a9735f490" providerId="ADAL" clId="{C2997A85-FA0E-4A15-BC96-D9C164783C31}" dt="2023-06-03T23:51:29.737" v="1076"/>
        <pc:sldMkLst>
          <pc:docMk/>
          <pc:sldMk cId="1589728508" sldId="3700"/>
        </pc:sldMkLst>
      </pc:sldChg>
      <pc:sldChg chg="add">
        <pc:chgData name="Scott Sink" userId="007532c1-63dd-4f29-9932-df3a9735f490" providerId="ADAL" clId="{C2997A85-FA0E-4A15-BC96-D9C164783C31}" dt="2023-06-03T23:51:31.893" v="1078"/>
        <pc:sldMkLst>
          <pc:docMk/>
          <pc:sldMk cId="896845260" sldId="3701"/>
        </pc:sldMkLst>
      </pc:sldChg>
      <pc:sldChg chg="add">
        <pc:chgData name="Scott Sink" userId="007532c1-63dd-4f29-9932-df3a9735f490" providerId="ADAL" clId="{C2997A85-FA0E-4A15-BC96-D9C164783C31}" dt="2023-06-03T23:51:33.303" v="1080"/>
        <pc:sldMkLst>
          <pc:docMk/>
          <pc:sldMk cId="1088496890" sldId="3702"/>
        </pc:sldMkLst>
      </pc:sldChg>
      <pc:sldChg chg="add">
        <pc:chgData name="Scott Sink" userId="007532c1-63dd-4f29-9932-df3a9735f490" providerId="ADAL" clId="{C2997A85-FA0E-4A15-BC96-D9C164783C31}" dt="2023-06-03T23:51:34.616" v="1082"/>
        <pc:sldMkLst>
          <pc:docMk/>
          <pc:sldMk cId="3899950260" sldId="3703"/>
        </pc:sldMkLst>
      </pc:sldChg>
      <pc:sldChg chg="add">
        <pc:chgData name="Scott Sink" userId="007532c1-63dd-4f29-9932-df3a9735f490" providerId="ADAL" clId="{C2997A85-FA0E-4A15-BC96-D9C164783C31}" dt="2023-06-03T23:51:36.387" v="1084"/>
        <pc:sldMkLst>
          <pc:docMk/>
          <pc:sldMk cId="3990148524" sldId="3704"/>
        </pc:sldMkLst>
      </pc:sldChg>
      <pc:sldChg chg="add">
        <pc:chgData name="Scott Sink" userId="007532c1-63dd-4f29-9932-df3a9735f490" providerId="ADAL" clId="{C2997A85-FA0E-4A15-BC96-D9C164783C31}" dt="2023-06-03T23:51:37.961" v="1086"/>
        <pc:sldMkLst>
          <pc:docMk/>
          <pc:sldMk cId="230616618" sldId="3705"/>
        </pc:sldMkLst>
      </pc:sldChg>
      <pc:sldChg chg="add">
        <pc:chgData name="Scott Sink" userId="007532c1-63dd-4f29-9932-df3a9735f490" providerId="ADAL" clId="{C2997A85-FA0E-4A15-BC96-D9C164783C31}" dt="2023-06-03T23:51:39.388" v="1088"/>
        <pc:sldMkLst>
          <pc:docMk/>
          <pc:sldMk cId="3195592877" sldId="3706"/>
        </pc:sldMkLst>
      </pc:sldChg>
      <pc:sldChg chg="add">
        <pc:chgData name="Scott Sink" userId="007532c1-63dd-4f29-9932-df3a9735f490" providerId="ADAL" clId="{C2997A85-FA0E-4A15-BC96-D9C164783C31}" dt="2023-06-03T23:51:41.304" v="1090"/>
        <pc:sldMkLst>
          <pc:docMk/>
          <pc:sldMk cId="735213613" sldId="3707"/>
        </pc:sldMkLst>
      </pc:sldChg>
      <pc:sldChg chg="add">
        <pc:chgData name="Scott Sink" userId="007532c1-63dd-4f29-9932-df3a9735f490" providerId="ADAL" clId="{C2997A85-FA0E-4A15-BC96-D9C164783C31}" dt="2023-06-03T23:51:42.936" v="1092"/>
        <pc:sldMkLst>
          <pc:docMk/>
          <pc:sldMk cId="337436359" sldId="3708"/>
        </pc:sldMkLst>
      </pc:sldChg>
      <pc:sldChg chg="add">
        <pc:chgData name="Scott Sink" userId="007532c1-63dd-4f29-9932-df3a9735f490" providerId="ADAL" clId="{C2997A85-FA0E-4A15-BC96-D9C164783C31}" dt="2023-06-03T23:51:44.877" v="1094"/>
        <pc:sldMkLst>
          <pc:docMk/>
          <pc:sldMk cId="3838641964" sldId="3709"/>
        </pc:sldMkLst>
      </pc:sldChg>
      <pc:sldChg chg="add">
        <pc:chgData name="Scott Sink" userId="007532c1-63dd-4f29-9932-df3a9735f490" providerId="ADAL" clId="{C2997A85-FA0E-4A15-BC96-D9C164783C31}" dt="2023-06-03T23:51:46.291" v="1096"/>
        <pc:sldMkLst>
          <pc:docMk/>
          <pc:sldMk cId="2469079551" sldId="3710"/>
        </pc:sldMkLst>
      </pc:sldChg>
      <pc:sldChg chg="add">
        <pc:chgData name="Scott Sink" userId="007532c1-63dd-4f29-9932-df3a9735f490" providerId="ADAL" clId="{C2997A85-FA0E-4A15-BC96-D9C164783C31}" dt="2023-06-03T23:51:47.809" v="1098"/>
        <pc:sldMkLst>
          <pc:docMk/>
          <pc:sldMk cId="1212769949" sldId="3711"/>
        </pc:sldMkLst>
      </pc:sldChg>
      <pc:sldChg chg="add">
        <pc:chgData name="Scott Sink" userId="007532c1-63dd-4f29-9932-df3a9735f490" providerId="ADAL" clId="{C2997A85-FA0E-4A15-BC96-D9C164783C31}" dt="2023-06-03T23:51:49.336" v="1100"/>
        <pc:sldMkLst>
          <pc:docMk/>
          <pc:sldMk cId="1777999867" sldId="3712"/>
        </pc:sldMkLst>
      </pc:sldChg>
      <pc:sldChg chg="add">
        <pc:chgData name="Scott Sink" userId="007532c1-63dd-4f29-9932-df3a9735f490" providerId="ADAL" clId="{C2997A85-FA0E-4A15-BC96-D9C164783C31}" dt="2023-06-03T23:51:50.873" v="1102"/>
        <pc:sldMkLst>
          <pc:docMk/>
          <pc:sldMk cId="2275490012" sldId="3713"/>
        </pc:sldMkLst>
      </pc:sldChg>
      <pc:sldChg chg="add">
        <pc:chgData name="Scott Sink" userId="007532c1-63dd-4f29-9932-df3a9735f490" providerId="ADAL" clId="{C2997A85-FA0E-4A15-BC96-D9C164783C31}" dt="2023-06-03T23:51:52.352" v="1104"/>
        <pc:sldMkLst>
          <pc:docMk/>
          <pc:sldMk cId="2859851823" sldId="3714"/>
        </pc:sldMkLst>
      </pc:sldChg>
      <pc:sldChg chg="add">
        <pc:chgData name="Scott Sink" userId="007532c1-63dd-4f29-9932-df3a9735f490" providerId="ADAL" clId="{C2997A85-FA0E-4A15-BC96-D9C164783C31}" dt="2023-06-03T23:51:53.985" v="1106"/>
        <pc:sldMkLst>
          <pc:docMk/>
          <pc:sldMk cId="2974356457" sldId="3715"/>
        </pc:sldMkLst>
      </pc:sldChg>
      <pc:sldChg chg="add">
        <pc:chgData name="Scott Sink" userId="007532c1-63dd-4f29-9932-df3a9735f490" providerId="ADAL" clId="{C2997A85-FA0E-4A15-BC96-D9C164783C31}" dt="2023-06-03T23:51:55.377" v="1108"/>
        <pc:sldMkLst>
          <pc:docMk/>
          <pc:sldMk cId="1580128679" sldId="3716"/>
        </pc:sldMkLst>
      </pc:sldChg>
      <pc:sldChg chg="add">
        <pc:chgData name="Scott Sink" userId="007532c1-63dd-4f29-9932-df3a9735f490" providerId="ADAL" clId="{C2997A85-FA0E-4A15-BC96-D9C164783C31}" dt="2023-06-03T23:51:56.776" v="1110"/>
        <pc:sldMkLst>
          <pc:docMk/>
          <pc:sldMk cId="3771296738" sldId="3717"/>
        </pc:sldMkLst>
      </pc:sldChg>
      <pc:sldChg chg="add">
        <pc:chgData name="Scott Sink" userId="007532c1-63dd-4f29-9932-df3a9735f490" providerId="ADAL" clId="{C2997A85-FA0E-4A15-BC96-D9C164783C31}" dt="2023-06-03T23:51:58.291" v="1112"/>
        <pc:sldMkLst>
          <pc:docMk/>
          <pc:sldMk cId="319426285" sldId="3718"/>
        </pc:sldMkLst>
      </pc:sldChg>
      <pc:sldChg chg="add">
        <pc:chgData name="Scott Sink" userId="007532c1-63dd-4f29-9932-df3a9735f490" providerId="ADAL" clId="{C2997A85-FA0E-4A15-BC96-D9C164783C31}" dt="2023-06-03T23:51:59.753" v="1114"/>
        <pc:sldMkLst>
          <pc:docMk/>
          <pc:sldMk cId="2577538415" sldId="3719"/>
        </pc:sldMkLst>
      </pc:sldChg>
      <pc:sldMasterChg chg="del delSldLayout">
        <pc:chgData name="Scott Sink" userId="007532c1-63dd-4f29-9932-df3a9735f490" providerId="ADAL" clId="{C2997A85-FA0E-4A15-BC96-D9C164783C31}" dt="2023-06-02T20:04:25.056" v="804" actId="47"/>
        <pc:sldMasterMkLst>
          <pc:docMk/>
          <pc:sldMasterMk cId="109284353" sldId="2147483648"/>
        </pc:sldMasterMkLst>
        <pc:sldLayoutChg chg="del">
          <pc:chgData name="Scott Sink" userId="007532c1-63dd-4f29-9932-df3a9735f490" providerId="ADAL" clId="{C2997A85-FA0E-4A15-BC96-D9C164783C31}" dt="2023-06-02T20:04:25.056" v="804" actId="47"/>
          <pc:sldLayoutMkLst>
            <pc:docMk/>
            <pc:sldMasterMk cId="109284353" sldId="2147483648"/>
            <pc:sldLayoutMk cId="0" sldId="2147497898"/>
          </pc:sldLayoutMkLst>
        </pc:sldLayoutChg>
      </pc:sldMasterChg>
      <pc:sldMasterChg chg="del delSldLayout">
        <pc:chgData name="Scott Sink" userId="007532c1-63dd-4f29-9932-df3a9735f490" providerId="ADAL" clId="{C2997A85-FA0E-4A15-BC96-D9C164783C31}" dt="2023-06-02T20:04:31.868" v="822" actId="47"/>
        <pc:sldMasterMkLst>
          <pc:docMk/>
          <pc:sldMasterMk cId="2012861398" sldId="2147483667"/>
        </pc:sldMasterMkLst>
        <pc:sldLayoutChg chg="del">
          <pc:chgData name="Scott Sink" userId="007532c1-63dd-4f29-9932-df3a9735f490" providerId="ADAL" clId="{C2997A85-FA0E-4A15-BC96-D9C164783C31}" dt="2023-06-02T20:04:31.868" v="822" actId="47"/>
          <pc:sldLayoutMkLst>
            <pc:docMk/>
            <pc:sldMasterMk cId="2012861398" sldId="2147483667"/>
            <pc:sldLayoutMk cId="3413945563" sldId="2147497900"/>
          </pc:sldLayoutMkLst>
        </pc:sldLayoutChg>
      </pc:sldMasterChg>
      <pc:sldMasterChg chg="add addSldLayout">
        <pc:chgData name="Scott Sink" userId="007532c1-63dd-4f29-9932-df3a9735f490" providerId="ADAL" clId="{C2997A85-FA0E-4A15-BC96-D9C164783C31}" dt="2023-06-03T23:51:24.936" v="1071" actId="27028"/>
        <pc:sldMasterMkLst>
          <pc:docMk/>
          <pc:sldMasterMk cId="1129140775" sldId="2147483674"/>
        </pc:sldMasterMkLst>
        <pc:sldLayoutChg chg="add">
          <pc:chgData name="Scott Sink" userId="007532c1-63dd-4f29-9932-df3a9735f490" providerId="ADAL" clId="{C2997A85-FA0E-4A15-BC96-D9C164783C31}" dt="2023-06-03T23:51:24.936" v="1071" actId="27028"/>
          <pc:sldLayoutMkLst>
            <pc:docMk/>
            <pc:sldMasterMk cId="1129140775" sldId="2147483674"/>
            <pc:sldLayoutMk cId="3823185750" sldId="2147483676"/>
          </pc:sldLayoutMkLst>
        </pc:sldLayoutChg>
        <pc:sldLayoutChg chg="add">
          <pc:chgData name="Scott Sink" userId="007532c1-63dd-4f29-9932-df3a9735f490" providerId="ADAL" clId="{C2997A85-FA0E-4A15-BC96-D9C164783C31}" dt="2023-06-03T23:51:23.457" v="1069" actId="27028"/>
          <pc:sldLayoutMkLst>
            <pc:docMk/>
            <pc:sldMasterMk cId="1129140775" sldId="2147483674"/>
            <pc:sldLayoutMk cId="761583877" sldId="2147483678"/>
          </pc:sldLayoutMkLst>
        </pc:sldLayoutChg>
        <pc:sldLayoutChg chg="add">
          <pc:chgData name="Scott Sink" userId="007532c1-63dd-4f29-9932-df3a9735f490" providerId="ADAL" clId="{C2997A85-FA0E-4A15-BC96-D9C164783C31}" dt="2023-06-03T23:51:18.303" v="1063" actId="27028"/>
          <pc:sldLayoutMkLst>
            <pc:docMk/>
            <pc:sldMasterMk cId="1129140775" sldId="2147483674"/>
            <pc:sldLayoutMk cId="1049413771" sldId="2147483680"/>
          </pc:sldLayoutMkLst>
        </pc:sldLayoutChg>
        <pc:sldLayoutChg chg="add">
          <pc:chgData name="Scott Sink" userId="007532c1-63dd-4f29-9932-df3a9735f490" providerId="ADAL" clId="{C2997A85-FA0E-4A15-BC96-D9C164783C31}" dt="2023-06-03T23:51:06.651" v="1053" actId="27028"/>
          <pc:sldLayoutMkLst>
            <pc:docMk/>
            <pc:sldMasterMk cId="1129140775" sldId="2147483674"/>
            <pc:sldLayoutMk cId="3939964797" sldId="2147483681"/>
          </pc:sldLayoutMkLst>
        </pc:sldLayoutChg>
        <pc:sldLayoutChg chg="add">
          <pc:chgData name="Scott Sink" userId="007532c1-63dd-4f29-9932-df3a9735f490" providerId="ADAL" clId="{C2997A85-FA0E-4A15-BC96-D9C164783C31}" dt="2023-06-03T23:51:08.637" v="1055" actId="27028"/>
          <pc:sldLayoutMkLst>
            <pc:docMk/>
            <pc:sldMasterMk cId="1129140775" sldId="2147483674"/>
            <pc:sldLayoutMk cId="2578213539" sldId="2147483687"/>
          </pc:sldLayoutMkLst>
        </pc:sldLayoutChg>
      </pc:sldMasterChg>
      <pc:sldMasterChg chg="add del addSldLayout delSldLayout">
        <pc:chgData name="Scott Sink" userId="007532c1-63dd-4f29-9932-df3a9735f490" providerId="ADAL" clId="{C2997A85-FA0E-4A15-BC96-D9C164783C31}" dt="2023-06-02T20:04:51.024" v="858" actId="47"/>
        <pc:sldMasterMkLst>
          <pc:docMk/>
          <pc:sldMasterMk cId="1310371896" sldId="2147483726"/>
        </pc:sldMasterMkLst>
        <pc:sldLayoutChg chg="add del">
          <pc:chgData name="Scott Sink" userId="007532c1-63dd-4f29-9932-df3a9735f490" providerId="ADAL" clId="{C2997A85-FA0E-4A15-BC96-D9C164783C31}" dt="2023-06-02T20:04:51.024" v="858" actId="47"/>
          <pc:sldLayoutMkLst>
            <pc:docMk/>
            <pc:sldMasterMk cId="1310371896" sldId="2147483726"/>
            <pc:sldLayoutMk cId="613140667" sldId="2147483728"/>
          </pc:sldLayoutMkLst>
        </pc:sldLayoutChg>
      </pc:sldMasterChg>
      <pc:sldMasterChg chg="add del addSldLayout delSldLayout">
        <pc:chgData name="Scott Sink" userId="007532c1-63dd-4f29-9932-df3a9735f490" providerId="ADAL" clId="{C2997A85-FA0E-4A15-BC96-D9C164783C31}" dt="2023-06-02T20:04:46.605" v="851" actId="47"/>
        <pc:sldMasterMkLst>
          <pc:docMk/>
          <pc:sldMasterMk cId="0" sldId="2147484151"/>
        </pc:sldMasterMkLst>
        <pc:sldLayoutChg chg="add del">
          <pc:chgData name="Scott Sink" userId="007532c1-63dd-4f29-9932-df3a9735f490" providerId="ADAL" clId="{C2997A85-FA0E-4A15-BC96-D9C164783C31}" dt="2023-06-02T20:04:46.605" v="851" actId="47"/>
          <pc:sldLayoutMkLst>
            <pc:docMk/>
            <pc:sldMasterMk cId="0" sldId="2147484151"/>
            <pc:sldLayoutMk cId="3956399100" sldId="2147497324"/>
          </pc:sldLayoutMkLst>
        </pc:sldLayoutChg>
      </pc:sldMasterChg>
      <pc:sldMasterChg chg="del delSldLayout">
        <pc:chgData name="Scott Sink" userId="007532c1-63dd-4f29-9932-df3a9735f490" providerId="ADAL" clId="{C2997A85-FA0E-4A15-BC96-D9C164783C31}" dt="2023-06-02T20:04:04.772" v="790" actId="47"/>
        <pc:sldMasterMkLst>
          <pc:docMk/>
          <pc:sldMasterMk cId="0" sldId="2147484577"/>
        </pc:sldMasterMkLst>
        <pc:sldLayoutChg chg="del">
          <pc:chgData name="Scott Sink" userId="007532c1-63dd-4f29-9932-df3a9735f490" providerId="ADAL" clId="{C2997A85-FA0E-4A15-BC96-D9C164783C31}" dt="2023-06-02T20:04:03.800" v="789" actId="47"/>
          <pc:sldLayoutMkLst>
            <pc:docMk/>
            <pc:sldMasterMk cId="0" sldId="2147484577"/>
            <pc:sldLayoutMk cId="0" sldId="2147484578"/>
          </pc:sldLayoutMkLst>
        </pc:sldLayoutChg>
        <pc:sldLayoutChg chg="del">
          <pc:chgData name="Scott Sink" userId="007532c1-63dd-4f29-9932-df3a9735f490" providerId="ADAL" clId="{C2997A85-FA0E-4A15-BC96-D9C164783C31}" dt="2023-06-02T20:04:04.772" v="790" actId="47"/>
          <pc:sldLayoutMkLst>
            <pc:docMk/>
            <pc:sldMasterMk cId="0" sldId="2147484577"/>
            <pc:sldLayoutMk cId="3919479767" sldId="2147497880"/>
          </pc:sldLayoutMkLst>
        </pc:sldLayoutChg>
      </pc:sldMasterChg>
      <pc:sldMasterChg chg="del delSldLayout">
        <pc:chgData name="Scott Sink" userId="007532c1-63dd-4f29-9932-df3a9735f490" providerId="ADAL" clId="{C2997A85-FA0E-4A15-BC96-D9C164783C31}" dt="2023-06-02T20:04:15.219" v="792" actId="47"/>
        <pc:sldMasterMkLst>
          <pc:docMk/>
          <pc:sldMasterMk cId="0" sldId="2147484581"/>
        </pc:sldMasterMkLst>
        <pc:sldLayoutChg chg="del">
          <pc:chgData name="Scott Sink" userId="007532c1-63dd-4f29-9932-df3a9735f490" providerId="ADAL" clId="{C2997A85-FA0E-4A15-BC96-D9C164783C31}" dt="2023-06-02T20:04:15.219" v="792" actId="47"/>
          <pc:sldLayoutMkLst>
            <pc:docMk/>
            <pc:sldMasterMk cId="0" sldId="2147484581"/>
            <pc:sldLayoutMk cId="0" sldId="2147484582"/>
          </pc:sldLayoutMkLst>
        </pc:sldLayoutChg>
      </pc:sldMasterChg>
      <pc:sldMasterChg chg="del delSldLayout">
        <pc:chgData name="Scott Sink" userId="007532c1-63dd-4f29-9932-df3a9735f490" providerId="ADAL" clId="{C2997A85-FA0E-4A15-BC96-D9C164783C31}" dt="2023-06-02T20:03:51.792" v="783" actId="47"/>
        <pc:sldMasterMkLst>
          <pc:docMk/>
          <pc:sldMasterMk cId="0" sldId="2147487193"/>
        </pc:sldMasterMkLst>
        <pc:sldLayoutChg chg="del">
          <pc:chgData name="Scott Sink" userId="007532c1-63dd-4f29-9932-df3a9735f490" providerId="ADAL" clId="{C2997A85-FA0E-4A15-BC96-D9C164783C31}" dt="2023-06-02T20:03:51.792" v="783" actId="47"/>
          <pc:sldLayoutMkLst>
            <pc:docMk/>
            <pc:sldMasterMk cId="0" sldId="2147487193"/>
            <pc:sldLayoutMk cId="2694063166" sldId="2147489676"/>
          </pc:sldLayoutMkLst>
        </pc:sldLayoutChg>
      </pc:sldMasterChg>
      <pc:sldMasterChg chg="delSldLayout">
        <pc:chgData name="Scott Sink" userId="007532c1-63dd-4f29-9932-df3a9735f490" providerId="ADAL" clId="{C2997A85-FA0E-4A15-BC96-D9C164783C31}" dt="2023-06-02T20:04:29.019" v="814" actId="47"/>
        <pc:sldMasterMkLst>
          <pc:docMk/>
          <pc:sldMasterMk cId="0" sldId="2147489416"/>
        </pc:sldMasterMkLst>
        <pc:sldLayoutChg chg="del">
          <pc:chgData name="Scott Sink" userId="007532c1-63dd-4f29-9932-df3a9735f490" providerId="ADAL" clId="{C2997A85-FA0E-4A15-BC96-D9C164783C31}" dt="2023-06-02T20:04:29.019" v="814" actId="47"/>
          <pc:sldLayoutMkLst>
            <pc:docMk/>
            <pc:sldMasterMk cId="0" sldId="2147489416"/>
            <pc:sldLayoutMk cId="301823395" sldId="2147497864"/>
          </pc:sldLayoutMkLst>
        </pc:sldLayoutChg>
        <pc:sldLayoutChg chg="del">
          <pc:chgData name="Scott Sink" userId="007532c1-63dd-4f29-9932-df3a9735f490" providerId="ADAL" clId="{C2997A85-FA0E-4A15-BC96-D9C164783C31}" dt="2023-06-02T20:04:28.386" v="813" actId="47"/>
          <pc:sldLayoutMkLst>
            <pc:docMk/>
            <pc:sldMasterMk cId="0" sldId="2147489416"/>
            <pc:sldLayoutMk cId="3202479907" sldId="2147497865"/>
          </pc:sldLayoutMkLst>
        </pc:sldLayoutChg>
      </pc:sldMasterChg>
      <pc:sldMasterChg chg="add del addSldLayout delSldLayout">
        <pc:chgData name="Scott Sink" userId="007532c1-63dd-4f29-9932-df3a9735f490" providerId="ADAL" clId="{C2997A85-FA0E-4A15-BC96-D9C164783C31}" dt="2023-06-02T20:05:12.469" v="869" actId="47"/>
        <pc:sldMasterMkLst>
          <pc:docMk/>
          <pc:sldMasterMk cId="0" sldId="2147497787"/>
        </pc:sldMasterMkLst>
        <pc:sldLayoutChg chg="add del">
          <pc:chgData name="Scott Sink" userId="007532c1-63dd-4f29-9932-df3a9735f490" providerId="ADAL" clId="{C2997A85-FA0E-4A15-BC96-D9C164783C31}" dt="2023-06-02T20:05:12.469" v="869" actId="47"/>
          <pc:sldLayoutMkLst>
            <pc:docMk/>
            <pc:sldMasterMk cId="0" sldId="2147497787"/>
            <pc:sldLayoutMk cId="1798974259" sldId="2147497743"/>
          </pc:sldLayoutMkLst>
        </pc:sldLayoutChg>
      </pc:sldMasterChg>
      <pc:sldMasterChg chg="add del addSldLayout delSldLayout">
        <pc:chgData name="Scott Sink" userId="007532c1-63dd-4f29-9932-df3a9735f490" providerId="ADAL" clId="{C2997A85-FA0E-4A15-BC96-D9C164783C31}" dt="2023-06-02T20:05:08.731" v="867" actId="47"/>
        <pc:sldMasterMkLst>
          <pc:docMk/>
          <pc:sldMasterMk cId="0" sldId="2147497789"/>
        </pc:sldMasterMkLst>
        <pc:sldLayoutChg chg="add del">
          <pc:chgData name="Scott Sink" userId="007532c1-63dd-4f29-9932-df3a9735f490" providerId="ADAL" clId="{C2997A85-FA0E-4A15-BC96-D9C164783C31}" dt="2023-06-02T20:05:08.731" v="867" actId="47"/>
          <pc:sldLayoutMkLst>
            <pc:docMk/>
            <pc:sldMasterMk cId="0" sldId="2147497789"/>
            <pc:sldLayoutMk cId="0" sldId="2147497790"/>
          </pc:sldLayoutMkLst>
        </pc:sldLayoutChg>
      </pc:sldMasterChg>
      <pc:sldMasterChg chg="add del addSldLayout delSldLayout">
        <pc:chgData name="Scott Sink" userId="007532c1-63dd-4f29-9932-df3a9735f490" providerId="ADAL" clId="{C2997A85-FA0E-4A15-BC96-D9C164783C31}" dt="2023-06-02T20:05:20.695" v="871" actId="47"/>
        <pc:sldMasterMkLst>
          <pc:docMk/>
          <pc:sldMasterMk cId="0" sldId="2147497863"/>
        </pc:sldMasterMkLst>
        <pc:sldLayoutChg chg="add del">
          <pc:chgData name="Scott Sink" userId="007532c1-63dd-4f29-9932-df3a9735f490" providerId="ADAL" clId="{C2997A85-FA0E-4A15-BC96-D9C164783C31}" dt="2023-06-02T20:05:20.695" v="871" actId="47"/>
          <pc:sldLayoutMkLst>
            <pc:docMk/>
            <pc:sldMasterMk cId="0" sldId="2147497863"/>
            <pc:sldLayoutMk cId="3548229126" sldId="2147497860"/>
          </pc:sldLayoutMkLst>
        </pc:sldLayoutChg>
      </pc:sldMasterChg>
      <pc:sldMasterChg chg="addSldLayout delSldLayout">
        <pc:chgData name="Scott Sink" userId="007532c1-63dd-4f29-9932-df3a9735f490" providerId="ADAL" clId="{C2997A85-FA0E-4A15-BC96-D9C164783C31}" dt="2023-06-02T20:05:09.769" v="868" actId="47"/>
        <pc:sldMasterMkLst>
          <pc:docMk/>
          <pc:sldMasterMk cId="109284353" sldId="2147497892"/>
        </pc:sldMasterMkLst>
        <pc:sldLayoutChg chg="add del">
          <pc:chgData name="Scott Sink" userId="007532c1-63dd-4f29-9932-df3a9735f490" providerId="ADAL" clId="{C2997A85-FA0E-4A15-BC96-D9C164783C31}" dt="2023-06-02T20:05:09.769" v="868" actId="47"/>
          <pc:sldLayoutMkLst>
            <pc:docMk/>
            <pc:sldMasterMk cId="109284353" sldId="2147497892"/>
            <pc:sldLayoutMk cId="1412939370" sldId="2147497883"/>
          </pc:sldLayoutMkLst>
        </pc:sldLayoutChg>
        <pc:sldLayoutChg chg="add del">
          <pc:chgData name="Scott Sink" userId="007532c1-63dd-4f29-9932-df3a9735f490" providerId="ADAL" clId="{C2997A85-FA0E-4A15-BC96-D9C164783C31}" dt="2023-06-02T20:04:45.069" v="847" actId="47"/>
          <pc:sldLayoutMkLst>
            <pc:docMk/>
            <pc:sldMasterMk cId="109284353" sldId="2147497892"/>
            <pc:sldLayoutMk cId="2587822317" sldId="2147497899"/>
          </pc:sldLayoutMkLst>
        </pc:sldLayoutChg>
      </pc:sldMasterChg>
      <pc:sldMasterChg chg="replId">
        <pc:chgData name="Scott Sink" userId="007532c1-63dd-4f29-9932-df3a9735f490" providerId="ADAL" clId="{C2997A85-FA0E-4A15-BC96-D9C164783C31}" dt="2023-06-03T23:51:06.651" v="1053" actId="27028"/>
        <pc:sldMasterMkLst>
          <pc:docMk/>
          <pc:sldMasterMk cId="1255074819" sldId="2147497898"/>
        </pc:sldMasterMkLst>
      </pc:sldMasterChg>
      <pc:sldMasterChg chg="del delSldLayout">
        <pc:chgData name="Scott Sink" userId="007532c1-63dd-4f29-9932-df3a9735f490" providerId="ADAL" clId="{C2997A85-FA0E-4A15-BC96-D9C164783C31}" dt="2023-06-02T20:05:21.903" v="872" actId="47"/>
        <pc:sldMasterMkLst>
          <pc:docMk/>
          <pc:sldMasterMk cId="0" sldId="2147497899"/>
        </pc:sldMasterMkLst>
        <pc:sldLayoutChg chg="del">
          <pc:chgData name="Scott Sink" userId="007532c1-63dd-4f29-9932-df3a9735f490" providerId="ADAL" clId="{C2997A85-FA0E-4A15-BC96-D9C164783C31}" dt="2023-06-02T20:05:21.903" v="872" actId="47"/>
          <pc:sldLayoutMkLst>
            <pc:docMk/>
            <pc:sldMasterMk cId="0" sldId="2147497899"/>
            <pc:sldLayoutMk cId="4141184889" sldId="2147488886"/>
          </pc:sldLayoutMkLst>
        </pc:sldLayoutChg>
      </pc:sldMasterChg>
    </pc:docChg>
  </pc:docChgLst>
  <pc:docChgLst>
    <pc:chgData name="Scott Sink" userId="007532c1-63dd-4f29-9932-df3a9735f490" providerId="ADAL" clId="{D3CDFFE0-8750-445D-ADE6-9097BB7C3009}"/>
    <pc:docChg chg="undo custSel addSld delSld modSld addMainMaster delMainMaster modMainMaster">
      <pc:chgData name="Scott Sink" userId="007532c1-63dd-4f29-9932-df3a9735f490" providerId="ADAL" clId="{D3CDFFE0-8750-445D-ADE6-9097BB7C3009}" dt="2023-04-08T07:51:54.501" v="2130" actId="20577"/>
      <pc:docMkLst>
        <pc:docMk/>
      </pc:docMkLst>
      <pc:sldChg chg="addSp modSp mod">
        <pc:chgData name="Scott Sink" userId="007532c1-63dd-4f29-9932-df3a9735f490" providerId="ADAL" clId="{D3CDFFE0-8750-445D-ADE6-9097BB7C3009}" dt="2023-04-06T10:51:18.057" v="11" actId="1076"/>
        <pc:sldMkLst>
          <pc:docMk/>
          <pc:sldMk cId="156920407" sldId="3584"/>
        </pc:sldMkLst>
        <pc:picChg chg="add mod">
          <ac:chgData name="Scott Sink" userId="007532c1-63dd-4f29-9932-df3a9735f490" providerId="ADAL" clId="{D3CDFFE0-8750-445D-ADE6-9097BB7C3009}" dt="2023-04-06T10:51:18.057" v="11" actId="1076"/>
          <ac:picMkLst>
            <pc:docMk/>
            <pc:sldMk cId="156920407" sldId="3584"/>
            <ac:picMk id="2" creationId="{B68827CB-FDFB-3FC0-BD6B-B05B6CF2B918}"/>
          </ac:picMkLst>
        </pc:picChg>
      </pc:sldChg>
      <pc:sldChg chg="modSp mod">
        <pc:chgData name="Scott Sink" userId="007532c1-63dd-4f29-9932-df3a9735f490" providerId="ADAL" clId="{D3CDFFE0-8750-445D-ADE6-9097BB7C3009}" dt="2023-04-06T13:53:50.395" v="1324" actId="20577"/>
        <pc:sldMkLst>
          <pc:docMk/>
          <pc:sldMk cId="415907632" sldId="3588"/>
        </pc:sldMkLst>
        <pc:spChg chg="mod">
          <ac:chgData name="Scott Sink" userId="007532c1-63dd-4f29-9932-df3a9735f490" providerId="ADAL" clId="{D3CDFFE0-8750-445D-ADE6-9097BB7C3009}" dt="2023-04-06T13:53:50.395" v="1324" actId="20577"/>
          <ac:spMkLst>
            <pc:docMk/>
            <pc:sldMk cId="415907632" sldId="3588"/>
            <ac:spMk id="2" creationId="{FE060643-C840-4F40-AA2B-5B60D5DF4B2C}"/>
          </ac:spMkLst>
        </pc:spChg>
      </pc:sldChg>
      <pc:sldChg chg="modSp mod">
        <pc:chgData name="Scott Sink" userId="007532c1-63dd-4f29-9932-df3a9735f490" providerId="ADAL" clId="{D3CDFFE0-8750-445D-ADE6-9097BB7C3009}" dt="2023-04-06T14:01:30.268" v="1384" actId="14100"/>
        <pc:sldMkLst>
          <pc:docMk/>
          <pc:sldMk cId="702407938" sldId="3597"/>
        </pc:sldMkLst>
        <pc:spChg chg="mod">
          <ac:chgData name="Scott Sink" userId="007532c1-63dd-4f29-9932-df3a9735f490" providerId="ADAL" clId="{D3CDFFE0-8750-445D-ADE6-9097BB7C3009}" dt="2023-04-06T14:01:30.268" v="1384" actId="14100"/>
          <ac:spMkLst>
            <pc:docMk/>
            <pc:sldMk cId="702407938" sldId="3597"/>
            <ac:spMk id="3" creationId="{B1750CC9-A9A2-3BAB-6668-6FFAB2C7B749}"/>
          </ac:spMkLst>
        </pc:spChg>
      </pc:sldChg>
      <pc:sldChg chg="modSp new mod">
        <pc:chgData name="Scott Sink" userId="007532c1-63dd-4f29-9932-df3a9735f490" providerId="ADAL" clId="{D3CDFFE0-8750-445D-ADE6-9097BB7C3009}" dt="2023-04-06T11:20:12.450" v="1250" actId="20577"/>
        <pc:sldMkLst>
          <pc:docMk/>
          <pc:sldMk cId="3033714040" sldId="3602"/>
        </pc:sldMkLst>
        <pc:spChg chg="mod">
          <ac:chgData name="Scott Sink" userId="007532c1-63dd-4f29-9932-df3a9735f490" providerId="ADAL" clId="{D3CDFFE0-8750-445D-ADE6-9097BB7C3009}" dt="2023-04-06T10:53:49.597" v="79" actId="20577"/>
          <ac:spMkLst>
            <pc:docMk/>
            <pc:sldMk cId="3033714040" sldId="3602"/>
            <ac:spMk id="2" creationId="{D39E4B8F-6C42-22DF-8685-D1C267892423}"/>
          </ac:spMkLst>
        </pc:spChg>
        <pc:spChg chg="mod">
          <ac:chgData name="Scott Sink" userId="007532c1-63dd-4f29-9932-df3a9735f490" providerId="ADAL" clId="{D3CDFFE0-8750-445D-ADE6-9097BB7C3009}" dt="2023-04-06T11:20:12.450" v="1250" actId="20577"/>
          <ac:spMkLst>
            <pc:docMk/>
            <pc:sldMk cId="3033714040" sldId="3602"/>
            <ac:spMk id="3" creationId="{7E09DAE2-0543-0468-DF41-5870AF92F5F8}"/>
          </ac:spMkLst>
        </pc:spChg>
      </pc:sldChg>
      <pc:sldChg chg="addSp modSp new mod">
        <pc:chgData name="Scott Sink" userId="007532c1-63dd-4f29-9932-df3a9735f490" providerId="ADAL" clId="{D3CDFFE0-8750-445D-ADE6-9097BB7C3009}" dt="2023-04-06T11:04:50.324" v="326" actId="122"/>
        <pc:sldMkLst>
          <pc:docMk/>
          <pc:sldMk cId="985217198" sldId="3603"/>
        </pc:sldMkLst>
        <pc:spChg chg="mod">
          <ac:chgData name="Scott Sink" userId="007532c1-63dd-4f29-9932-df3a9735f490" providerId="ADAL" clId="{D3CDFFE0-8750-445D-ADE6-9097BB7C3009}" dt="2023-04-06T10:55:04.454" v="169" actId="20577"/>
          <ac:spMkLst>
            <pc:docMk/>
            <pc:sldMk cId="985217198" sldId="3603"/>
            <ac:spMk id="2" creationId="{E211C6D2-E137-A675-E129-1B7CA1893BC6}"/>
          </ac:spMkLst>
        </pc:spChg>
        <pc:spChg chg="mod">
          <ac:chgData name="Scott Sink" userId="007532c1-63dd-4f29-9932-df3a9735f490" providerId="ADAL" clId="{D3CDFFE0-8750-445D-ADE6-9097BB7C3009}" dt="2023-04-06T11:04:50.324" v="326" actId="122"/>
          <ac:spMkLst>
            <pc:docMk/>
            <pc:sldMk cId="985217198" sldId="3603"/>
            <ac:spMk id="3" creationId="{6D76E1CA-0434-A800-0AC3-87790CA7F766}"/>
          </ac:spMkLst>
        </pc:spChg>
        <pc:spChg chg="add mod">
          <ac:chgData name="Scott Sink" userId="007532c1-63dd-4f29-9932-df3a9735f490" providerId="ADAL" clId="{D3CDFFE0-8750-445D-ADE6-9097BB7C3009}" dt="2023-04-06T11:04:46.847" v="325" actId="1076"/>
          <ac:spMkLst>
            <pc:docMk/>
            <pc:sldMk cId="985217198" sldId="3603"/>
            <ac:spMk id="4" creationId="{6DB03709-4D62-0C95-17C9-6EEC74CD24EE}"/>
          </ac:spMkLst>
        </pc:spChg>
      </pc:sldChg>
      <pc:sldChg chg="addSp delSp modSp new mod">
        <pc:chgData name="Scott Sink" userId="007532c1-63dd-4f29-9932-df3a9735f490" providerId="ADAL" clId="{D3CDFFE0-8750-445D-ADE6-9097BB7C3009}" dt="2023-04-06T11:19:58.269" v="1248" actId="207"/>
        <pc:sldMkLst>
          <pc:docMk/>
          <pc:sldMk cId="2956154196" sldId="3604"/>
        </pc:sldMkLst>
        <pc:spChg chg="add del mod">
          <ac:chgData name="Scott Sink" userId="007532c1-63dd-4f29-9932-df3a9735f490" providerId="ADAL" clId="{D3CDFFE0-8750-445D-ADE6-9097BB7C3009}" dt="2023-04-06T11:15:56.262" v="989" actId="20577"/>
          <ac:spMkLst>
            <pc:docMk/>
            <pc:sldMk cId="2956154196" sldId="3604"/>
            <ac:spMk id="2" creationId="{632B48E4-BBAE-520C-32C1-3FDA85F868A1}"/>
          </ac:spMkLst>
        </pc:spChg>
        <pc:spChg chg="add del">
          <ac:chgData name="Scott Sink" userId="007532c1-63dd-4f29-9932-df3a9735f490" providerId="ADAL" clId="{D3CDFFE0-8750-445D-ADE6-9097BB7C3009}" dt="2023-04-06T10:58:04.775" v="256"/>
          <ac:spMkLst>
            <pc:docMk/>
            <pc:sldMk cId="2956154196" sldId="3604"/>
            <ac:spMk id="3" creationId="{17983019-1E59-4F44-5C15-9D9894707AA3}"/>
          </ac:spMkLst>
        </pc:spChg>
        <pc:spChg chg="add del mod">
          <ac:chgData name="Scott Sink" userId="007532c1-63dd-4f29-9932-df3a9735f490" providerId="ADAL" clId="{D3CDFFE0-8750-445D-ADE6-9097BB7C3009}" dt="2023-04-06T11:06:36.103" v="328"/>
          <ac:spMkLst>
            <pc:docMk/>
            <pc:sldMk cId="2956154196" sldId="3604"/>
            <ac:spMk id="7" creationId="{2E082C6F-5DB8-BAA9-794A-64D6DE9357E3}"/>
          </ac:spMkLst>
        </pc:spChg>
        <pc:spChg chg="add del">
          <ac:chgData name="Scott Sink" userId="007532c1-63dd-4f29-9932-df3a9735f490" providerId="ADAL" clId="{D3CDFFE0-8750-445D-ADE6-9097BB7C3009}" dt="2023-04-06T10:57:14.995" v="253" actId="26606"/>
          <ac:spMkLst>
            <pc:docMk/>
            <pc:sldMk cId="2956154196" sldId="3604"/>
            <ac:spMk id="9" creationId="{047187BC-FBEF-339B-6B77-B0629E9EC93B}"/>
          </ac:spMkLst>
        </pc:spChg>
        <pc:spChg chg="add mod">
          <ac:chgData name="Scott Sink" userId="007532c1-63dd-4f29-9932-df3a9735f490" providerId="ADAL" clId="{D3CDFFE0-8750-445D-ADE6-9097BB7C3009}" dt="2023-04-06T11:19:58.269" v="1248" actId="207"/>
          <ac:spMkLst>
            <pc:docMk/>
            <pc:sldMk cId="2956154196" sldId="3604"/>
            <ac:spMk id="11" creationId="{4CE7A314-EA89-FE08-FFF0-E0F74CBDC1E7}"/>
          </ac:spMkLst>
        </pc:spChg>
        <pc:spChg chg="add del mod">
          <ac:chgData name="Scott Sink" userId="007532c1-63dd-4f29-9932-df3a9735f490" providerId="ADAL" clId="{D3CDFFE0-8750-445D-ADE6-9097BB7C3009}" dt="2023-04-06T11:16:00.491" v="991" actId="478"/>
          <ac:spMkLst>
            <pc:docMk/>
            <pc:sldMk cId="2956154196" sldId="3604"/>
            <ac:spMk id="12" creationId="{23544901-584C-A155-0F74-7EC2519B30D6}"/>
          </ac:spMkLst>
        </pc:spChg>
        <pc:picChg chg="add mod">
          <ac:chgData name="Scott Sink" userId="007532c1-63dd-4f29-9932-df3a9735f490" providerId="ADAL" clId="{D3CDFFE0-8750-445D-ADE6-9097BB7C3009}" dt="2023-04-06T10:57:14.995" v="253" actId="26606"/>
          <ac:picMkLst>
            <pc:docMk/>
            <pc:sldMk cId="2956154196" sldId="3604"/>
            <ac:picMk id="4" creationId="{BEB1CC17-BC71-C1CA-C74B-3D3467482DC0}"/>
          </ac:picMkLst>
        </pc:picChg>
        <pc:picChg chg="add del mod">
          <ac:chgData name="Scott Sink" userId="007532c1-63dd-4f29-9932-df3a9735f490" providerId="ADAL" clId="{D3CDFFE0-8750-445D-ADE6-9097BB7C3009}" dt="2023-04-06T11:06:32.700" v="327" actId="478"/>
          <ac:picMkLst>
            <pc:docMk/>
            <pc:sldMk cId="2956154196" sldId="3604"/>
            <ac:picMk id="6" creationId="{F1B1111A-63D3-9328-D99D-5BF23D2D566E}"/>
          </ac:picMkLst>
        </pc:picChg>
        <pc:picChg chg="add del mod">
          <ac:chgData name="Scott Sink" userId="007532c1-63dd-4f29-9932-df3a9735f490" providerId="ADAL" clId="{D3CDFFE0-8750-445D-ADE6-9097BB7C3009}" dt="2023-04-06T11:15:58.147" v="990" actId="478"/>
          <ac:picMkLst>
            <pc:docMk/>
            <pc:sldMk cId="2956154196" sldId="3604"/>
            <ac:picMk id="10" creationId="{2FAD4A09-8766-BB8D-BFDE-DFC92FE24013}"/>
          </ac:picMkLst>
        </pc:picChg>
      </pc:sldChg>
      <pc:sldChg chg="add del">
        <pc:chgData name="Scott Sink" userId="007532c1-63dd-4f29-9932-df3a9735f490" providerId="ADAL" clId="{D3CDFFE0-8750-445D-ADE6-9097BB7C3009}" dt="2023-04-06T11:03:37.933" v="278" actId="47"/>
        <pc:sldMkLst>
          <pc:docMk/>
          <pc:sldMk cId="1749951483" sldId="3605"/>
        </pc:sldMkLst>
      </pc:sldChg>
      <pc:sldChg chg="add">
        <pc:chgData name="Scott Sink" userId="007532c1-63dd-4f29-9932-df3a9735f490" providerId="ADAL" clId="{D3CDFFE0-8750-445D-ADE6-9097BB7C3009}" dt="2023-04-06T11:03:40.834" v="280"/>
        <pc:sldMkLst>
          <pc:docMk/>
          <pc:sldMk cId="3722812206" sldId="3605"/>
        </pc:sldMkLst>
      </pc:sldChg>
      <pc:sldChg chg="modSp add del mod">
        <pc:chgData name="Scott Sink" userId="007532c1-63dd-4f29-9932-df3a9735f490" providerId="ADAL" clId="{D3CDFFE0-8750-445D-ADE6-9097BB7C3009}" dt="2023-04-06T11:03:36.762" v="277" actId="47"/>
        <pc:sldMkLst>
          <pc:docMk/>
          <pc:sldMk cId="122225319" sldId="3606"/>
        </pc:sldMkLst>
        <pc:spChg chg="mod">
          <ac:chgData name="Scott Sink" userId="007532c1-63dd-4f29-9932-df3a9735f490" providerId="ADAL" clId="{D3CDFFE0-8750-445D-ADE6-9097BB7C3009}" dt="2023-04-06T11:00:58.051" v="267" actId="27636"/>
          <ac:spMkLst>
            <pc:docMk/>
            <pc:sldMk cId="122225319" sldId="3606"/>
            <ac:spMk id="7" creationId="{F561937C-1148-27C2-C6B0-D11750A12AF6}"/>
          </ac:spMkLst>
        </pc:spChg>
      </pc:sldChg>
      <pc:sldChg chg="add">
        <pc:chgData name="Scott Sink" userId="007532c1-63dd-4f29-9932-df3a9735f490" providerId="ADAL" clId="{D3CDFFE0-8750-445D-ADE6-9097BB7C3009}" dt="2023-04-06T11:03:44.815" v="282"/>
        <pc:sldMkLst>
          <pc:docMk/>
          <pc:sldMk cId="4034699046" sldId="3606"/>
        </pc:sldMkLst>
      </pc:sldChg>
      <pc:sldChg chg="modSp add del mod">
        <pc:chgData name="Scott Sink" userId="007532c1-63dd-4f29-9932-df3a9735f490" providerId="ADAL" clId="{D3CDFFE0-8750-445D-ADE6-9097BB7C3009}" dt="2023-04-06T11:03:35.489" v="276" actId="47"/>
        <pc:sldMkLst>
          <pc:docMk/>
          <pc:sldMk cId="495187236" sldId="3607"/>
        </pc:sldMkLst>
        <pc:spChg chg="mod">
          <ac:chgData name="Scott Sink" userId="007532c1-63dd-4f29-9932-df3a9735f490" providerId="ADAL" clId="{D3CDFFE0-8750-445D-ADE6-9097BB7C3009}" dt="2023-04-06T11:01:57.192" v="274" actId="1076"/>
          <ac:spMkLst>
            <pc:docMk/>
            <pc:sldMk cId="495187236" sldId="3607"/>
            <ac:spMk id="4" creationId="{36906BB2-F9E2-3E7F-163B-498E25FDF3A7}"/>
          </ac:spMkLst>
        </pc:spChg>
        <pc:spChg chg="mod">
          <ac:chgData name="Scott Sink" userId="007532c1-63dd-4f29-9932-df3a9735f490" providerId="ADAL" clId="{D3CDFFE0-8750-445D-ADE6-9097BB7C3009}" dt="2023-04-06T11:02:30.077" v="275" actId="1076"/>
          <ac:spMkLst>
            <pc:docMk/>
            <pc:sldMk cId="495187236" sldId="3607"/>
            <ac:spMk id="7" creationId="{F561937C-1148-27C2-C6B0-D11750A12AF6}"/>
          </ac:spMkLst>
        </pc:spChg>
      </pc:sldChg>
      <pc:sldChg chg="add">
        <pc:chgData name="Scott Sink" userId="007532c1-63dd-4f29-9932-df3a9735f490" providerId="ADAL" clId="{D3CDFFE0-8750-445D-ADE6-9097BB7C3009}" dt="2023-04-06T11:03:47.595" v="284"/>
        <pc:sldMkLst>
          <pc:docMk/>
          <pc:sldMk cId="1125228431" sldId="3607"/>
        </pc:sldMkLst>
      </pc:sldChg>
      <pc:sldChg chg="add">
        <pc:chgData name="Scott Sink" userId="007532c1-63dd-4f29-9932-df3a9735f490" providerId="ADAL" clId="{D3CDFFE0-8750-445D-ADE6-9097BB7C3009}" dt="2023-04-06T11:03:54.345" v="286"/>
        <pc:sldMkLst>
          <pc:docMk/>
          <pc:sldMk cId="116316544" sldId="3608"/>
        </pc:sldMkLst>
      </pc:sldChg>
      <pc:sldChg chg="modSp add del mod">
        <pc:chgData name="Scott Sink" userId="007532c1-63dd-4f29-9932-df3a9735f490" providerId="ADAL" clId="{D3CDFFE0-8750-445D-ADE6-9097BB7C3009}" dt="2023-04-06T11:01:51.421" v="273" actId="47"/>
        <pc:sldMkLst>
          <pc:docMk/>
          <pc:sldMk cId="1058287311" sldId="3608"/>
        </pc:sldMkLst>
        <pc:spChg chg="mod">
          <ac:chgData name="Scott Sink" userId="007532c1-63dd-4f29-9932-df3a9735f490" providerId="ADAL" clId="{D3CDFFE0-8750-445D-ADE6-9097BB7C3009}" dt="2023-04-06T11:01:18.881" v="272" actId="27636"/>
          <ac:spMkLst>
            <pc:docMk/>
            <pc:sldMk cId="1058287311" sldId="3608"/>
            <ac:spMk id="7" creationId="{F561937C-1148-27C2-C6B0-D11750A12AF6}"/>
          </ac:spMkLst>
        </pc:spChg>
      </pc:sldChg>
      <pc:sldChg chg="add">
        <pc:chgData name="Scott Sink" userId="007532c1-63dd-4f29-9932-df3a9735f490" providerId="ADAL" clId="{D3CDFFE0-8750-445D-ADE6-9097BB7C3009}" dt="2023-04-06T11:03:58.262" v="288"/>
        <pc:sldMkLst>
          <pc:docMk/>
          <pc:sldMk cId="2836108606" sldId="3609"/>
        </pc:sldMkLst>
      </pc:sldChg>
      <pc:sldChg chg="add">
        <pc:chgData name="Scott Sink" userId="007532c1-63dd-4f29-9932-df3a9735f490" providerId="ADAL" clId="{D3CDFFE0-8750-445D-ADE6-9097BB7C3009}" dt="2023-04-06T11:04:00.512" v="290"/>
        <pc:sldMkLst>
          <pc:docMk/>
          <pc:sldMk cId="1903822633" sldId="3610"/>
        </pc:sldMkLst>
      </pc:sldChg>
      <pc:sldChg chg="add">
        <pc:chgData name="Scott Sink" userId="007532c1-63dd-4f29-9932-df3a9735f490" providerId="ADAL" clId="{D3CDFFE0-8750-445D-ADE6-9097BB7C3009}" dt="2023-04-06T11:04:04.168" v="292"/>
        <pc:sldMkLst>
          <pc:docMk/>
          <pc:sldMk cId="3686140456" sldId="3611"/>
        </pc:sldMkLst>
      </pc:sldChg>
      <pc:sldChg chg="add">
        <pc:chgData name="Scott Sink" userId="007532c1-63dd-4f29-9932-df3a9735f490" providerId="ADAL" clId="{D3CDFFE0-8750-445D-ADE6-9097BB7C3009}" dt="2023-04-06T11:15:51.342" v="983" actId="2890"/>
        <pc:sldMkLst>
          <pc:docMk/>
          <pc:sldMk cId="3115082838" sldId="3612"/>
        </pc:sldMkLst>
      </pc:sldChg>
      <pc:sldChg chg="addSp delSp modSp new mod">
        <pc:chgData name="Scott Sink" userId="007532c1-63dd-4f29-9932-df3a9735f490" providerId="ADAL" clId="{D3CDFFE0-8750-445D-ADE6-9097BB7C3009}" dt="2023-04-06T13:57:18.104" v="1363" actId="1076"/>
        <pc:sldMkLst>
          <pc:docMk/>
          <pc:sldMk cId="3384557778" sldId="3613"/>
        </pc:sldMkLst>
        <pc:spChg chg="mod">
          <ac:chgData name="Scott Sink" userId="007532c1-63dd-4f29-9932-df3a9735f490" providerId="ADAL" clId="{D3CDFFE0-8750-445D-ADE6-9097BB7C3009}" dt="2023-04-06T13:56:38.603" v="1359" actId="404"/>
          <ac:spMkLst>
            <pc:docMk/>
            <pc:sldMk cId="3384557778" sldId="3613"/>
            <ac:spMk id="2" creationId="{87F8534E-9D75-DE7A-A9CC-7FBD98938DF1}"/>
          </ac:spMkLst>
        </pc:spChg>
        <pc:spChg chg="del">
          <ac:chgData name="Scott Sink" userId="007532c1-63dd-4f29-9932-df3a9735f490" providerId="ADAL" clId="{D3CDFFE0-8750-445D-ADE6-9097BB7C3009}" dt="2023-04-06T13:56:10.412" v="1326" actId="931"/>
          <ac:spMkLst>
            <pc:docMk/>
            <pc:sldMk cId="3384557778" sldId="3613"/>
            <ac:spMk id="3" creationId="{9B3F8ED8-D852-BAB3-2B3F-802975A842BA}"/>
          </ac:spMkLst>
        </pc:spChg>
        <pc:picChg chg="add mod">
          <ac:chgData name="Scott Sink" userId="007532c1-63dd-4f29-9932-df3a9735f490" providerId="ADAL" clId="{D3CDFFE0-8750-445D-ADE6-9097BB7C3009}" dt="2023-04-06T13:56:15.118" v="1330" actId="14100"/>
          <ac:picMkLst>
            <pc:docMk/>
            <pc:sldMk cId="3384557778" sldId="3613"/>
            <ac:picMk id="5" creationId="{85ADCF2F-72EF-4D80-884A-816B3E0DEBCE}"/>
          </ac:picMkLst>
        </pc:picChg>
        <pc:picChg chg="add mod">
          <ac:chgData name="Scott Sink" userId="007532c1-63dd-4f29-9932-df3a9735f490" providerId="ADAL" clId="{D3CDFFE0-8750-445D-ADE6-9097BB7C3009}" dt="2023-04-06T13:57:18.104" v="1363" actId="1076"/>
          <ac:picMkLst>
            <pc:docMk/>
            <pc:sldMk cId="3384557778" sldId="3613"/>
            <ac:picMk id="7" creationId="{044C5D7F-1FBB-54FA-DC20-B2C1065D9D09}"/>
          </ac:picMkLst>
        </pc:picChg>
      </pc:sldChg>
      <pc:sldChg chg="addSp delSp modSp new mod">
        <pc:chgData name="Scott Sink" userId="007532c1-63dd-4f29-9932-df3a9735f490" providerId="ADAL" clId="{D3CDFFE0-8750-445D-ADE6-9097BB7C3009}" dt="2023-04-07T06:25:44.866" v="1403" actId="20577"/>
        <pc:sldMkLst>
          <pc:docMk/>
          <pc:sldMk cId="46988055" sldId="3614"/>
        </pc:sldMkLst>
        <pc:spChg chg="mod">
          <ac:chgData name="Scott Sink" userId="007532c1-63dd-4f29-9932-df3a9735f490" providerId="ADAL" clId="{D3CDFFE0-8750-445D-ADE6-9097BB7C3009}" dt="2023-04-07T06:25:44.866" v="1403" actId="20577"/>
          <ac:spMkLst>
            <pc:docMk/>
            <pc:sldMk cId="46988055" sldId="3614"/>
            <ac:spMk id="2" creationId="{E1E0086A-5BF8-7173-D3A9-BF6931F43FA3}"/>
          </ac:spMkLst>
        </pc:spChg>
        <pc:spChg chg="del">
          <ac:chgData name="Scott Sink" userId="007532c1-63dd-4f29-9932-df3a9735f490" providerId="ADAL" clId="{D3CDFFE0-8750-445D-ADE6-9097BB7C3009}" dt="2023-04-07T06:25:32.688" v="1386"/>
          <ac:spMkLst>
            <pc:docMk/>
            <pc:sldMk cId="46988055" sldId="3614"/>
            <ac:spMk id="3" creationId="{6613EC55-CD5C-172D-7697-667A9B291A75}"/>
          </ac:spMkLst>
        </pc:spChg>
        <pc:picChg chg="add mod">
          <ac:chgData name="Scott Sink" userId="007532c1-63dd-4f29-9932-df3a9735f490" providerId="ADAL" clId="{D3CDFFE0-8750-445D-ADE6-9097BB7C3009}" dt="2023-04-07T06:25:37.179" v="1388" actId="27614"/>
          <ac:picMkLst>
            <pc:docMk/>
            <pc:sldMk cId="46988055" sldId="3614"/>
            <ac:picMk id="5" creationId="{350F6A6F-9254-169D-C554-7DBAAD8796CD}"/>
          </ac:picMkLst>
        </pc:picChg>
      </pc:sldChg>
      <pc:sldChg chg="addSp delSp modSp new mod">
        <pc:chgData name="Scott Sink" userId="007532c1-63dd-4f29-9932-df3a9735f490" providerId="ADAL" clId="{D3CDFFE0-8750-445D-ADE6-9097BB7C3009}" dt="2023-04-08T07:44:57.936" v="1448" actId="962"/>
        <pc:sldMkLst>
          <pc:docMk/>
          <pc:sldMk cId="1014058352" sldId="3615"/>
        </pc:sldMkLst>
        <pc:spChg chg="mod">
          <ac:chgData name="Scott Sink" userId="007532c1-63dd-4f29-9932-df3a9735f490" providerId="ADAL" clId="{D3CDFFE0-8750-445D-ADE6-9097BB7C3009}" dt="2023-04-08T07:44:10.590" v="1444" actId="1076"/>
          <ac:spMkLst>
            <pc:docMk/>
            <pc:sldMk cId="1014058352" sldId="3615"/>
            <ac:spMk id="2" creationId="{A90100FC-2B22-9662-730A-5103D3B8C377}"/>
          </ac:spMkLst>
        </pc:spChg>
        <pc:spChg chg="del">
          <ac:chgData name="Scott Sink" userId="007532c1-63dd-4f29-9932-df3a9735f490" providerId="ADAL" clId="{D3CDFFE0-8750-445D-ADE6-9097BB7C3009}" dt="2023-04-08T07:43:42.717" v="1405" actId="931"/>
          <ac:spMkLst>
            <pc:docMk/>
            <pc:sldMk cId="1014058352" sldId="3615"/>
            <ac:spMk id="3" creationId="{92FBA80E-D427-E934-4683-3B7EDA0CD08C}"/>
          </ac:spMkLst>
        </pc:spChg>
        <pc:spChg chg="add del mod">
          <ac:chgData name="Scott Sink" userId="007532c1-63dd-4f29-9932-df3a9735f490" providerId="ADAL" clId="{D3CDFFE0-8750-445D-ADE6-9097BB7C3009}" dt="2023-04-08T07:44:56.436" v="1446" actId="931"/>
          <ac:spMkLst>
            <pc:docMk/>
            <pc:sldMk cId="1014058352" sldId="3615"/>
            <ac:spMk id="6" creationId="{2C2BA82B-B8CC-0922-102E-C2F85596C3D9}"/>
          </ac:spMkLst>
        </pc:spChg>
        <pc:picChg chg="add del mod">
          <ac:chgData name="Scott Sink" userId="007532c1-63dd-4f29-9932-df3a9735f490" providerId="ADAL" clId="{D3CDFFE0-8750-445D-ADE6-9097BB7C3009}" dt="2023-04-08T07:44:44.975" v="1445" actId="478"/>
          <ac:picMkLst>
            <pc:docMk/>
            <pc:sldMk cId="1014058352" sldId="3615"/>
            <ac:picMk id="5" creationId="{6190D606-D752-8754-0AD8-3B173DA8FB16}"/>
          </ac:picMkLst>
        </pc:picChg>
        <pc:picChg chg="add mod">
          <ac:chgData name="Scott Sink" userId="007532c1-63dd-4f29-9932-df3a9735f490" providerId="ADAL" clId="{D3CDFFE0-8750-445D-ADE6-9097BB7C3009}" dt="2023-04-08T07:44:57.936" v="1448" actId="962"/>
          <ac:picMkLst>
            <pc:docMk/>
            <pc:sldMk cId="1014058352" sldId="3615"/>
            <ac:picMk id="8" creationId="{80A3DE5C-8248-D06B-3722-4B7F1314A5E8}"/>
          </ac:picMkLst>
        </pc:picChg>
      </pc:sldChg>
      <pc:sldChg chg="addSp delSp modSp new mod">
        <pc:chgData name="Scott Sink" userId="007532c1-63dd-4f29-9932-df3a9735f490" providerId="ADAL" clId="{D3CDFFE0-8750-445D-ADE6-9097BB7C3009}" dt="2023-04-08T07:51:54.501" v="2130" actId="20577"/>
        <pc:sldMkLst>
          <pc:docMk/>
          <pc:sldMk cId="83943494" sldId="3616"/>
        </pc:sldMkLst>
        <pc:spChg chg="mod">
          <ac:chgData name="Scott Sink" userId="007532c1-63dd-4f29-9932-df3a9735f490" providerId="ADAL" clId="{D3CDFFE0-8750-445D-ADE6-9097BB7C3009}" dt="2023-04-08T07:46:49.181" v="1454" actId="14100"/>
          <ac:spMkLst>
            <pc:docMk/>
            <pc:sldMk cId="83943494" sldId="3616"/>
            <ac:spMk id="2" creationId="{3843ABD6-D5AE-20C9-D4E6-297965823015}"/>
          </ac:spMkLst>
        </pc:spChg>
        <pc:spChg chg="del">
          <ac:chgData name="Scott Sink" userId="007532c1-63dd-4f29-9932-df3a9735f490" providerId="ADAL" clId="{D3CDFFE0-8750-445D-ADE6-9097BB7C3009}" dt="2023-04-08T07:46:43.083" v="1450" actId="931"/>
          <ac:spMkLst>
            <pc:docMk/>
            <pc:sldMk cId="83943494" sldId="3616"/>
            <ac:spMk id="3" creationId="{891B866C-8AC9-5088-8C1A-9561299E3C52}"/>
          </ac:spMkLst>
        </pc:spChg>
        <pc:spChg chg="add mod">
          <ac:chgData name="Scott Sink" userId="007532c1-63dd-4f29-9932-df3a9735f490" providerId="ADAL" clId="{D3CDFFE0-8750-445D-ADE6-9097BB7C3009}" dt="2023-04-08T07:51:54.501" v="2130" actId="20577"/>
          <ac:spMkLst>
            <pc:docMk/>
            <pc:sldMk cId="83943494" sldId="3616"/>
            <ac:spMk id="6" creationId="{2198B16A-6ED1-5166-E5FC-2CCFBCE66C8D}"/>
          </ac:spMkLst>
        </pc:spChg>
        <pc:picChg chg="add mod">
          <ac:chgData name="Scott Sink" userId="007532c1-63dd-4f29-9932-df3a9735f490" providerId="ADAL" clId="{D3CDFFE0-8750-445D-ADE6-9097BB7C3009}" dt="2023-04-08T07:46:54.947" v="1455" actId="1076"/>
          <ac:picMkLst>
            <pc:docMk/>
            <pc:sldMk cId="83943494" sldId="3616"/>
            <ac:picMk id="5" creationId="{70F2D10C-EAEB-F5B2-6A52-FFDF13C441AA}"/>
          </ac:picMkLst>
        </pc:picChg>
      </pc:sldChg>
      <pc:sldMasterChg chg="add del addSldLayout delSldLayout">
        <pc:chgData name="Scott Sink" userId="007532c1-63dd-4f29-9932-df3a9735f490" providerId="ADAL" clId="{D3CDFFE0-8750-445D-ADE6-9097BB7C3009}" dt="2023-04-06T11:03:37.933" v="278" actId="47"/>
        <pc:sldMasterMkLst>
          <pc:docMk/>
          <pc:sldMasterMk cId="1918187668" sldId="2147483648"/>
        </pc:sldMasterMkLst>
        <pc:sldLayoutChg chg="add del">
          <pc:chgData name="Scott Sink" userId="007532c1-63dd-4f29-9932-df3a9735f490" providerId="ADAL" clId="{D3CDFFE0-8750-445D-ADE6-9097BB7C3009}" dt="2023-04-06T11:03:37.933" v="278" actId="47"/>
          <pc:sldLayoutMkLst>
            <pc:docMk/>
            <pc:sldMasterMk cId="1918187668" sldId="2147483648"/>
            <pc:sldLayoutMk cId="725535644" sldId="2147483650"/>
          </pc:sldLayoutMkLst>
        </pc:sldLayoutChg>
      </pc:sldMasterChg>
      <pc:sldMasterChg chg="add addSldLayout">
        <pc:chgData name="Scott Sink" userId="007532c1-63dd-4f29-9932-df3a9735f490" providerId="ADAL" clId="{D3CDFFE0-8750-445D-ADE6-9097BB7C3009}" dt="2023-04-06T11:03:40.834" v="279" actId="27028"/>
        <pc:sldMasterMkLst>
          <pc:docMk/>
          <pc:sldMasterMk cId="2012861398" sldId="2147483667"/>
        </pc:sldMasterMkLst>
        <pc:sldLayoutChg chg="add">
          <pc:chgData name="Scott Sink" userId="007532c1-63dd-4f29-9932-df3a9735f490" providerId="ADAL" clId="{D3CDFFE0-8750-445D-ADE6-9097BB7C3009}" dt="2023-04-06T11:03:40.834" v="279" actId="27028"/>
          <pc:sldLayoutMkLst>
            <pc:docMk/>
            <pc:sldMasterMk cId="2012861398" sldId="2147483667"/>
            <pc:sldLayoutMk cId="3413945563" sldId="2147497900"/>
          </pc:sldLayoutMkLst>
        </pc:sldLayoutChg>
      </pc:sldMasterChg>
      <pc:sldMasterChg chg="delSp">
        <pc:chgData name="Scott Sink" userId="007532c1-63dd-4f29-9932-df3a9735f490" providerId="ADAL" clId="{D3CDFFE0-8750-445D-ADE6-9097BB7C3009}" dt="2023-04-06T10:50:59.366" v="9" actId="478"/>
        <pc:sldMasterMkLst>
          <pc:docMk/>
          <pc:sldMasterMk cId="0" sldId="2147488890"/>
        </pc:sldMasterMkLst>
        <pc:picChg chg="del">
          <ac:chgData name="Scott Sink" userId="007532c1-63dd-4f29-9932-df3a9735f490" providerId="ADAL" clId="{D3CDFFE0-8750-445D-ADE6-9097BB7C3009}" dt="2023-04-06T10:50:59.366" v="9" actId="478"/>
          <ac:picMkLst>
            <pc:docMk/>
            <pc:sldMasterMk cId="0" sldId="2147488890"/>
            <ac:picMk id="1047" creationId="{16660E49-66A4-44B1-96FA-028284F930E4}"/>
          </ac:picMkLst>
        </pc:picChg>
      </pc:sldMasterChg>
      <pc:sldMasterChg chg="delSp">
        <pc:chgData name="Scott Sink" userId="007532c1-63dd-4f29-9932-df3a9735f490" providerId="ADAL" clId="{D3CDFFE0-8750-445D-ADE6-9097BB7C3009}" dt="2023-04-06T10:56:46.512" v="250" actId="478"/>
        <pc:sldMasterMkLst>
          <pc:docMk/>
          <pc:sldMasterMk cId="0" sldId="2147497796"/>
        </pc:sldMasterMkLst>
        <pc:picChg chg="del">
          <ac:chgData name="Scott Sink" userId="007532c1-63dd-4f29-9932-df3a9735f490" providerId="ADAL" clId="{D3CDFFE0-8750-445D-ADE6-9097BB7C3009}" dt="2023-04-06T10:56:46.512" v="250" actId="478"/>
          <ac:picMkLst>
            <pc:docMk/>
            <pc:sldMasterMk cId="0" sldId="2147497796"/>
            <ac:picMk id="1047" creationId="{23FBEF03-D18D-419E-87A9-F28BFDD59DEE}"/>
          </ac:picMkLst>
        </pc:picChg>
      </pc:sldMasterChg>
      <pc:sldMasterChg chg="delSp">
        <pc:chgData name="Scott Sink" userId="007532c1-63dd-4f29-9932-df3a9735f490" providerId="ADAL" clId="{D3CDFFE0-8750-445D-ADE6-9097BB7C3009}" dt="2023-04-06T10:50:53.639" v="8" actId="478"/>
        <pc:sldMasterMkLst>
          <pc:docMk/>
          <pc:sldMasterMk cId="0" sldId="2147497863"/>
        </pc:sldMasterMkLst>
        <pc:picChg chg="del">
          <ac:chgData name="Scott Sink" userId="007532c1-63dd-4f29-9932-df3a9735f490" providerId="ADAL" clId="{D3CDFFE0-8750-445D-ADE6-9097BB7C3009}" dt="2023-04-06T10:50:53.639" v="8" actId="478"/>
          <ac:picMkLst>
            <pc:docMk/>
            <pc:sldMasterMk cId="0" sldId="2147497863"/>
            <ac:picMk id="23575" creationId="{84B1CA58-6598-435A-BFC8-B4258CE9FCD7}"/>
          </ac:picMkLst>
        </pc:picChg>
      </pc:sldMasterChg>
    </pc:docChg>
  </pc:docChgLst>
  <pc:docChgLst>
    <pc:chgData name="Scott Sink" userId="007532c1-63dd-4f29-9932-df3a9735f490" providerId="ADAL" clId="{9E3C8D41-9167-4835-BE54-6D463ECD2610}"/>
    <pc:docChg chg="undo custSel addSld delSld modSld sldOrd addMainMaster delMainMaster modMainMaster">
      <pc:chgData name="Scott Sink" userId="007532c1-63dd-4f29-9932-df3a9735f490" providerId="ADAL" clId="{9E3C8D41-9167-4835-BE54-6D463ECD2610}" dt="2023-04-18T10:15:59.136" v="7491" actId="14100"/>
      <pc:docMkLst>
        <pc:docMk/>
      </pc:docMkLst>
      <pc:sldChg chg="ord">
        <pc:chgData name="Scott Sink" userId="007532c1-63dd-4f29-9932-df3a9735f490" providerId="ADAL" clId="{9E3C8D41-9167-4835-BE54-6D463ECD2610}" dt="2023-04-17T11:09:40.012" v="4799"/>
        <pc:sldMkLst>
          <pc:docMk/>
          <pc:sldMk cId="0" sldId="972"/>
        </pc:sldMkLst>
      </pc:sldChg>
      <pc:sldChg chg="ord">
        <pc:chgData name="Scott Sink" userId="007532c1-63dd-4f29-9932-df3a9735f490" providerId="ADAL" clId="{9E3C8D41-9167-4835-BE54-6D463ECD2610}" dt="2023-04-10T11:08:13.026" v="1663"/>
        <pc:sldMkLst>
          <pc:docMk/>
          <pc:sldMk cId="0" sldId="973"/>
        </pc:sldMkLst>
      </pc:sldChg>
      <pc:sldChg chg="ord">
        <pc:chgData name="Scott Sink" userId="007532c1-63dd-4f29-9932-df3a9735f490" providerId="ADAL" clId="{9E3C8D41-9167-4835-BE54-6D463ECD2610}" dt="2023-04-10T11:08:04.126" v="1661"/>
        <pc:sldMkLst>
          <pc:docMk/>
          <pc:sldMk cId="0" sldId="974"/>
        </pc:sldMkLst>
      </pc:sldChg>
      <pc:sldChg chg="del">
        <pc:chgData name="Scott Sink" userId="007532c1-63dd-4f29-9932-df3a9735f490" providerId="ADAL" clId="{9E3C8D41-9167-4835-BE54-6D463ECD2610}" dt="2023-04-18T05:20:18.129" v="7056" actId="47"/>
        <pc:sldMkLst>
          <pc:docMk/>
          <pc:sldMk cId="0" sldId="975"/>
        </pc:sldMkLst>
      </pc:sldChg>
      <pc:sldChg chg="del">
        <pc:chgData name="Scott Sink" userId="007532c1-63dd-4f29-9932-df3a9735f490" providerId="ADAL" clId="{9E3C8D41-9167-4835-BE54-6D463ECD2610}" dt="2023-04-18T05:20:02.634" v="7049" actId="47"/>
        <pc:sldMkLst>
          <pc:docMk/>
          <pc:sldMk cId="1081947393" sldId="993"/>
        </pc:sldMkLst>
      </pc:sldChg>
      <pc:sldChg chg="del">
        <pc:chgData name="Scott Sink" userId="007532c1-63dd-4f29-9932-df3a9735f490" providerId="ADAL" clId="{9E3C8D41-9167-4835-BE54-6D463ECD2610}" dt="2023-04-18T05:20:23.487" v="7058" actId="47"/>
        <pc:sldMkLst>
          <pc:docMk/>
          <pc:sldMk cId="1520149310" sldId="1008"/>
        </pc:sldMkLst>
      </pc:sldChg>
      <pc:sldChg chg="del">
        <pc:chgData name="Scott Sink" userId="007532c1-63dd-4f29-9932-df3a9735f490" providerId="ADAL" clId="{9E3C8D41-9167-4835-BE54-6D463ECD2610}" dt="2023-04-18T05:20:19.512" v="7057" actId="47"/>
        <pc:sldMkLst>
          <pc:docMk/>
          <pc:sldMk cId="1419392209" sldId="1010"/>
        </pc:sldMkLst>
      </pc:sldChg>
      <pc:sldChg chg="del">
        <pc:chgData name="Scott Sink" userId="007532c1-63dd-4f29-9932-df3a9735f490" providerId="ADAL" clId="{9E3C8D41-9167-4835-BE54-6D463ECD2610}" dt="2023-04-18T05:20:16.801" v="7055" actId="47"/>
        <pc:sldMkLst>
          <pc:docMk/>
          <pc:sldMk cId="3565726042" sldId="1014"/>
        </pc:sldMkLst>
      </pc:sldChg>
      <pc:sldChg chg="del">
        <pc:chgData name="Scott Sink" userId="007532c1-63dd-4f29-9932-df3a9735f490" providerId="ADAL" clId="{9E3C8D41-9167-4835-BE54-6D463ECD2610}" dt="2023-04-18T05:20:14.497" v="7054" actId="47"/>
        <pc:sldMkLst>
          <pc:docMk/>
          <pc:sldMk cId="207448335" sldId="1015"/>
        </pc:sldMkLst>
      </pc:sldChg>
      <pc:sldChg chg="del">
        <pc:chgData name="Scott Sink" userId="007532c1-63dd-4f29-9932-df3a9735f490" providerId="ADAL" clId="{9E3C8D41-9167-4835-BE54-6D463ECD2610}" dt="2023-04-18T05:20:30.049" v="7059" actId="47"/>
        <pc:sldMkLst>
          <pc:docMk/>
          <pc:sldMk cId="2481794241" sldId="1030"/>
        </pc:sldMkLst>
      </pc:sldChg>
      <pc:sldChg chg="modSp mod">
        <pc:chgData name="Scott Sink" userId="007532c1-63dd-4f29-9932-df3a9735f490" providerId="ADAL" clId="{9E3C8D41-9167-4835-BE54-6D463ECD2610}" dt="2023-04-17T11:04:49.370" v="4470" actId="403"/>
        <pc:sldMkLst>
          <pc:docMk/>
          <pc:sldMk cId="1191895561" sldId="1073"/>
        </pc:sldMkLst>
        <pc:spChg chg="mod">
          <ac:chgData name="Scott Sink" userId="007532c1-63dd-4f29-9932-df3a9735f490" providerId="ADAL" clId="{9E3C8D41-9167-4835-BE54-6D463ECD2610}" dt="2023-04-17T11:04:49.370" v="4470" actId="403"/>
          <ac:spMkLst>
            <pc:docMk/>
            <pc:sldMk cId="1191895561" sldId="1073"/>
            <ac:spMk id="34818" creationId="{CD8765AA-FD17-4376-8483-B1841837B4D8}"/>
          </ac:spMkLst>
        </pc:spChg>
        <pc:picChg chg="mod">
          <ac:chgData name="Scott Sink" userId="007532c1-63dd-4f29-9932-df3a9735f490" providerId="ADAL" clId="{9E3C8D41-9167-4835-BE54-6D463ECD2610}" dt="2023-04-17T11:04:37.832" v="4466" actId="1076"/>
          <ac:picMkLst>
            <pc:docMk/>
            <pc:sldMk cId="1191895561" sldId="1073"/>
            <ac:picMk id="9" creationId="{2C4E32F5-07B8-2458-A53B-8CCFE770B36F}"/>
          </ac:picMkLst>
        </pc:picChg>
        <pc:picChg chg="mod">
          <ac:chgData name="Scott Sink" userId="007532c1-63dd-4f29-9932-df3a9735f490" providerId="ADAL" clId="{9E3C8D41-9167-4835-BE54-6D463ECD2610}" dt="2023-04-17T11:04:43.950" v="4467" actId="1076"/>
          <ac:picMkLst>
            <pc:docMk/>
            <pc:sldMk cId="1191895561" sldId="1073"/>
            <ac:picMk id="13" creationId="{C2461E31-15B4-BA5A-67F8-E8BC1DA5EFD2}"/>
          </ac:picMkLst>
        </pc:picChg>
        <pc:picChg chg="mod">
          <ac:chgData name="Scott Sink" userId="007532c1-63dd-4f29-9932-df3a9735f490" providerId="ADAL" clId="{9E3C8D41-9167-4835-BE54-6D463ECD2610}" dt="2023-04-10T10:48:55.240" v="930" actId="1076"/>
          <ac:picMkLst>
            <pc:docMk/>
            <pc:sldMk cId="1191895561" sldId="1073"/>
            <ac:picMk id="34829" creationId="{992710B9-FA7F-4F75-ADEB-295FE16AC110}"/>
          </ac:picMkLst>
        </pc:picChg>
      </pc:sldChg>
      <pc:sldChg chg="del">
        <pc:chgData name="Scott Sink" userId="007532c1-63dd-4f29-9932-df3a9735f490" providerId="ADAL" clId="{9E3C8D41-9167-4835-BE54-6D463ECD2610}" dt="2023-04-18T05:20:03.743" v="7050" actId="47"/>
        <pc:sldMkLst>
          <pc:docMk/>
          <pc:sldMk cId="2709457554" sldId="3528"/>
        </pc:sldMkLst>
      </pc:sldChg>
      <pc:sldChg chg="ord">
        <pc:chgData name="Scott Sink" userId="007532c1-63dd-4f29-9932-df3a9735f490" providerId="ADAL" clId="{9E3C8D41-9167-4835-BE54-6D463ECD2610}" dt="2023-04-18T05:19:31.555" v="7047"/>
        <pc:sldMkLst>
          <pc:docMk/>
          <pc:sldMk cId="3394926519" sldId="3543"/>
        </pc:sldMkLst>
      </pc:sldChg>
      <pc:sldChg chg="del">
        <pc:chgData name="Scott Sink" userId="007532c1-63dd-4f29-9932-df3a9735f490" providerId="ADAL" clId="{9E3C8D41-9167-4835-BE54-6D463ECD2610}" dt="2023-04-18T05:20:08.072" v="7051" actId="47"/>
        <pc:sldMkLst>
          <pc:docMk/>
          <pc:sldMk cId="4108777311" sldId="3545"/>
        </pc:sldMkLst>
      </pc:sldChg>
      <pc:sldChg chg="del">
        <pc:chgData name="Scott Sink" userId="007532c1-63dd-4f29-9932-df3a9735f490" providerId="ADAL" clId="{9E3C8D41-9167-4835-BE54-6D463ECD2610}" dt="2023-04-10T10:47:44.444" v="923" actId="47"/>
        <pc:sldMkLst>
          <pc:docMk/>
          <pc:sldMk cId="4011216617" sldId="3556"/>
        </pc:sldMkLst>
      </pc:sldChg>
      <pc:sldChg chg="del">
        <pc:chgData name="Scott Sink" userId="007532c1-63dd-4f29-9932-df3a9735f490" providerId="ADAL" clId="{9E3C8D41-9167-4835-BE54-6D463ECD2610}" dt="2023-04-18T05:20:31.193" v="7060" actId="47"/>
        <pc:sldMkLst>
          <pc:docMk/>
          <pc:sldMk cId="1828680455" sldId="3561"/>
        </pc:sldMkLst>
      </pc:sldChg>
      <pc:sldChg chg="del">
        <pc:chgData name="Scott Sink" userId="007532c1-63dd-4f29-9932-df3a9735f490" providerId="ADAL" clId="{9E3C8D41-9167-4835-BE54-6D463ECD2610}" dt="2023-04-18T05:20:10.051" v="7052" actId="47"/>
        <pc:sldMkLst>
          <pc:docMk/>
          <pc:sldMk cId="2031061649" sldId="3575"/>
        </pc:sldMkLst>
      </pc:sldChg>
      <pc:sldChg chg="del">
        <pc:chgData name="Scott Sink" userId="007532c1-63dd-4f29-9932-df3a9735f490" providerId="ADAL" clId="{9E3C8D41-9167-4835-BE54-6D463ECD2610}" dt="2023-04-18T05:20:10.984" v="7053" actId="47"/>
        <pc:sldMkLst>
          <pc:docMk/>
          <pc:sldMk cId="2058958684" sldId="3576"/>
        </pc:sldMkLst>
      </pc:sldChg>
      <pc:sldChg chg="del">
        <pc:chgData name="Scott Sink" userId="007532c1-63dd-4f29-9932-df3a9735f490" providerId="ADAL" clId="{9E3C8D41-9167-4835-BE54-6D463ECD2610}" dt="2023-04-10T10:50:51.666" v="1041" actId="47"/>
        <pc:sldMkLst>
          <pc:docMk/>
          <pc:sldMk cId="4081513264" sldId="3580"/>
        </pc:sldMkLst>
      </pc:sldChg>
      <pc:sldChg chg="del">
        <pc:chgData name="Scott Sink" userId="007532c1-63dd-4f29-9932-df3a9735f490" providerId="ADAL" clId="{9E3C8D41-9167-4835-BE54-6D463ECD2610}" dt="2023-04-10T10:54:10.459" v="1135" actId="47"/>
        <pc:sldMkLst>
          <pc:docMk/>
          <pc:sldMk cId="1093580571" sldId="3581"/>
        </pc:sldMkLst>
      </pc:sldChg>
      <pc:sldChg chg="modSp mod ord">
        <pc:chgData name="Scott Sink" userId="007532c1-63dd-4f29-9932-df3a9735f490" providerId="ADAL" clId="{9E3C8D41-9167-4835-BE54-6D463ECD2610}" dt="2023-04-16T09:44:32.360" v="2480" actId="20577"/>
        <pc:sldMkLst>
          <pc:docMk/>
          <pc:sldMk cId="2587135016" sldId="3583"/>
        </pc:sldMkLst>
        <pc:spChg chg="mod">
          <ac:chgData name="Scott Sink" userId="007532c1-63dd-4f29-9932-df3a9735f490" providerId="ADAL" clId="{9E3C8D41-9167-4835-BE54-6D463ECD2610}" dt="2023-04-16T09:44:32.360" v="2480" actId="20577"/>
          <ac:spMkLst>
            <pc:docMk/>
            <pc:sldMk cId="2587135016" sldId="3583"/>
            <ac:spMk id="6" creationId="{E734B233-DE41-C447-9A4F-4B49FB04B831}"/>
          </ac:spMkLst>
        </pc:spChg>
      </pc:sldChg>
      <pc:sldChg chg="modSp ord">
        <pc:chgData name="Scott Sink" userId="007532c1-63dd-4f29-9932-df3a9735f490" providerId="ADAL" clId="{9E3C8D41-9167-4835-BE54-6D463ECD2610}" dt="2023-04-16T14:16:40.004" v="4463" actId="1076"/>
        <pc:sldMkLst>
          <pc:docMk/>
          <pc:sldMk cId="156920407" sldId="3584"/>
        </pc:sldMkLst>
        <pc:spChg chg="mod">
          <ac:chgData name="Scott Sink" userId="007532c1-63dd-4f29-9932-df3a9735f490" providerId="ADAL" clId="{9E3C8D41-9167-4835-BE54-6D463ECD2610}" dt="2023-04-16T14:16:33.494" v="4462" actId="14100"/>
          <ac:spMkLst>
            <pc:docMk/>
            <pc:sldMk cId="156920407" sldId="3584"/>
            <ac:spMk id="27656" creationId="{4C18286E-B858-4AE7-A906-BC587D69642E}"/>
          </ac:spMkLst>
        </pc:spChg>
        <pc:spChg chg="mod">
          <ac:chgData name="Scott Sink" userId="007532c1-63dd-4f29-9932-df3a9735f490" providerId="ADAL" clId="{9E3C8D41-9167-4835-BE54-6D463ECD2610}" dt="2023-04-16T14:16:23.066" v="4458" actId="14100"/>
          <ac:spMkLst>
            <pc:docMk/>
            <pc:sldMk cId="156920407" sldId="3584"/>
            <ac:spMk id="27657" creationId="{E34D7E2F-48D6-4733-91B0-3AE20A5B2206}"/>
          </ac:spMkLst>
        </pc:spChg>
        <pc:picChg chg="mod">
          <ac:chgData name="Scott Sink" userId="007532c1-63dd-4f29-9932-df3a9735f490" providerId="ADAL" clId="{9E3C8D41-9167-4835-BE54-6D463ECD2610}" dt="2023-04-16T14:16:40.004" v="4463" actId="1076"/>
          <ac:picMkLst>
            <pc:docMk/>
            <pc:sldMk cId="156920407" sldId="3584"/>
            <ac:picMk id="27654" creationId="{7E22E97A-B4B4-4968-B2C4-CC6952539C16}"/>
          </ac:picMkLst>
        </pc:picChg>
      </pc:sldChg>
      <pc:sldChg chg="del">
        <pc:chgData name="Scott Sink" userId="007532c1-63dd-4f29-9932-df3a9735f490" providerId="ADAL" clId="{9E3C8D41-9167-4835-BE54-6D463ECD2610}" dt="2023-04-10T11:22:02.311" v="2354" actId="47"/>
        <pc:sldMkLst>
          <pc:docMk/>
          <pc:sldMk cId="1156798635" sldId="3585"/>
        </pc:sldMkLst>
      </pc:sldChg>
      <pc:sldChg chg="del">
        <pc:chgData name="Scott Sink" userId="007532c1-63dd-4f29-9932-df3a9735f490" providerId="ADAL" clId="{9E3C8D41-9167-4835-BE54-6D463ECD2610}" dt="2023-04-18T05:20:35.368" v="7061" actId="47"/>
        <pc:sldMkLst>
          <pc:docMk/>
          <pc:sldMk cId="3994094586" sldId="3586"/>
        </pc:sldMkLst>
      </pc:sldChg>
      <pc:sldChg chg="del">
        <pc:chgData name="Scott Sink" userId="007532c1-63dd-4f29-9932-df3a9735f490" providerId="ADAL" clId="{9E3C8D41-9167-4835-BE54-6D463ECD2610}" dt="2023-04-10T10:52:37.026" v="1097" actId="47"/>
        <pc:sldMkLst>
          <pc:docMk/>
          <pc:sldMk cId="415907632" sldId="3588"/>
        </pc:sldMkLst>
      </pc:sldChg>
      <pc:sldChg chg="del">
        <pc:chgData name="Scott Sink" userId="007532c1-63dd-4f29-9932-df3a9735f490" providerId="ADAL" clId="{9E3C8D41-9167-4835-BE54-6D463ECD2610}" dt="2023-04-10T10:54:09.509" v="1134" actId="47"/>
        <pc:sldMkLst>
          <pc:docMk/>
          <pc:sldMk cId="3890885787" sldId="3592"/>
        </pc:sldMkLst>
      </pc:sldChg>
      <pc:sldChg chg="del">
        <pc:chgData name="Scott Sink" userId="007532c1-63dd-4f29-9932-df3a9735f490" providerId="ADAL" clId="{9E3C8D41-9167-4835-BE54-6D463ECD2610}" dt="2023-04-10T11:22:52.503" v="2359" actId="47"/>
        <pc:sldMkLst>
          <pc:docMk/>
          <pc:sldMk cId="2623999364" sldId="3593"/>
        </pc:sldMkLst>
      </pc:sldChg>
      <pc:sldChg chg="del">
        <pc:chgData name="Scott Sink" userId="007532c1-63dd-4f29-9932-df3a9735f490" providerId="ADAL" clId="{9E3C8D41-9167-4835-BE54-6D463ECD2610}" dt="2023-04-10T11:22:45.926" v="2357" actId="47"/>
        <pc:sldMkLst>
          <pc:docMk/>
          <pc:sldMk cId="3912324480" sldId="3594"/>
        </pc:sldMkLst>
      </pc:sldChg>
      <pc:sldChg chg="del">
        <pc:chgData name="Scott Sink" userId="007532c1-63dd-4f29-9932-df3a9735f490" providerId="ADAL" clId="{9E3C8D41-9167-4835-BE54-6D463ECD2610}" dt="2023-04-18T05:20:38.449" v="7062" actId="47"/>
        <pc:sldMkLst>
          <pc:docMk/>
          <pc:sldMk cId="4015846564" sldId="3595"/>
        </pc:sldMkLst>
      </pc:sldChg>
      <pc:sldChg chg="del">
        <pc:chgData name="Scott Sink" userId="007532c1-63dd-4f29-9932-df3a9735f490" providerId="ADAL" clId="{9E3C8D41-9167-4835-BE54-6D463ECD2610}" dt="2023-04-10T11:22:57.843" v="2360" actId="47"/>
        <pc:sldMkLst>
          <pc:docMk/>
          <pc:sldMk cId="3991207018" sldId="3596"/>
        </pc:sldMkLst>
      </pc:sldChg>
      <pc:sldChg chg="del">
        <pc:chgData name="Scott Sink" userId="007532c1-63dd-4f29-9932-df3a9735f490" providerId="ADAL" clId="{9E3C8D41-9167-4835-BE54-6D463ECD2610}" dt="2023-04-10T10:50:53.997" v="1042" actId="47"/>
        <pc:sldMkLst>
          <pc:docMk/>
          <pc:sldMk cId="702407938" sldId="3597"/>
        </pc:sldMkLst>
      </pc:sldChg>
      <pc:sldChg chg="del">
        <pc:chgData name="Scott Sink" userId="007532c1-63dd-4f29-9932-df3a9735f490" providerId="ADAL" clId="{9E3C8D41-9167-4835-BE54-6D463ECD2610}" dt="2023-04-10T11:22:50.575" v="2358" actId="47"/>
        <pc:sldMkLst>
          <pc:docMk/>
          <pc:sldMk cId="1378970743" sldId="3598"/>
        </pc:sldMkLst>
      </pc:sldChg>
      <pc:sldChg chg="modSp del mod">
        <pc:chgData name="Scott Sink" userId="007532c1-63dd-4f29-9932-df3a9735f490" providerId="ADAL" clId="{9E3C8D41-9167-4835-BE54-6D463ECD2610}" dt="2023-04-18T05:19:35.576" v="7048" actId="47"/>
        <pc:sldMkLst>
          <pc:docMk/>
          <pc:sldMk cId="1934364303" sldId="3599"/>
        </pc:sldMkLst>
        <pc:spChg chg="mod">
          <ac:chgData name="Scott Sink" userId="007532c1-63dd-4f29-9932-df3a9735f490" providerId="ADAL" clId="{9E3C8D41-9167-4835-BE54-6D463ECD2610}" dt="2023-04-16T12:53:52.199" v="4261" actId="20577"/>
          <ac:spMkLst>
            <pc:docMk/>
            <pc:sldMk cId="1934364303" sldId="3599"/>
            <ac:spMk id="3" creationId="{F0B294B4-5BC5-2610-ED70-63C0F88F5F12}"/>
          </ac:spMkLst>
        </pc:spChg>
      </pc:sldChg>
      <pc:sldChg chg="del">
        <pc:chgData name="Scott Sink" userId="007532c1-63dd-4f29-9932-df3a9735f490" providerId="ADAL" clId="{9E3C8D41-9167-4835-BE54-6D463ECD2610}" dt="2023-04-10T10:52:39.863" v="1100" actId="47"/>
        <pc:sldMkLst>
          <pc:docMk/>
          <pc:sldMk cId="2313767426" sldId="3600"/>
        </pc:sldMkLst>
      </pc:sldChg>
      <pc:sldChg chg="del">
        <pc:chgData name="Scott Sink" userId="007532c1-63dd-4f29-9932-df3a9735f490" providerId="ADAL" clId="{9E3C8D41-9167-4835-BE54-6D463ECD2610}" dt="2023-04-10T10:52:38.976" v="1099" actId="47"/>
        <pc:sldMkLst>
          <pc:docMk/>
          <pc:sldMk cId="2637935649" sldId="3601"/>
        </pc:sldMkLst>
      </pc:sldChg>
      <pc:sldChg chg="del">
        <pc:chgData name="Scott Sink" userId="007532c1-63dd-4f29-9932-df3a9735f490" providerId="ADAL" clId="{9E3C8D41-9167-4835-BE54-6D463ECD2610}" dt="2023-04-10T11:23:01.056" v="2361" actId="47"/>
        <pc:sldMkLst>
          <pc:docMk/>
          <pc:sldMk cId="3033714040" sldId="3602"/>
        </pc:sldMkLst>
      </pc:sldChg>
      <pc:sldChg chg="addSp delSp modSp mod">
        <pc:chgData name="Scott Sink" userId="007532c1-63dd-4f29-9932-df3a9735f490" providerId="ADAL" clId="{9E3C8D41-9167-4835-BE54-6D463ECD2610}" dt="2023-04-16T10:23:37.617" v="3393" actId="20577"/>
        <pc:sldMkLst>
          <pc:docMk/>
          <pc:sldMk cId="985217198" sldId="3603"/>
        </pc:sldMkLst>
        <pc:spChg chg="mod">
          <ac:chgData name="Scott Sink" userId="007532c1-63dd-4f29-9932-df3a9735f490" providerId="ADAL" clId="{9E3C8D41-9167-4835-BE54-6D463ECD2610}" dt="2023-04-16T09:51:14.074" v="2729" actId="20577"/>
          <ac:spMkLst>
            <pc:docMk/>
            <pc:sldMk cId="985217198" sldId="3603"/>
            <ac:spMk id="2" creationId="{E211C6D2-E137-A675-E129-1B7CA1893BC6}"/>
          </ac:spMkLst>
        </pc:spChg>
        <pc:spChg chg="mod">
          <ac:chgData name="Scott Sink" userId="007532c1-63dd-4f29-9932-df3a9735f490" providerId="ADAL" clId="{9E3C8D41-9167-4835-BE54-6D463ECD2610}" dt="2023-04-16T10:23:37.617" v="3393" actId="20577"/>
          <ac:spMkLst>
            <pc:docMk/>
            <pc:sldMk cId="985217198" sldId="3603"/>
            <ac:spMk id="3" creationId="{6D76E1CA-0434-A800-0AC3-87790CA7F766}"/>
          </ac:spMkLst>
        </pc:spChg>
        <pc:spChg chg="del mod">
          <ac:chgData name="Scott Sink" userId="007532c1-63dd-4f29-9932-df3a9735f490" providerId="ADAL" clId="{9E3C8D41-9167-4835-BE54-6D463ECD2610}" dt="2023-04-16T10:21:58.602" v="3320" actId="478"/>
          <ac:spMkLst>
            <pc:docMk/>
            <pc:sldMk cId="985217198" sldId="3603"/>
            <ac:spMk id="4" creationId="{6DB03709-4D62-0C95-17C9-6EEC74CD24EE}"/>
          </ac:spMkLst>
        </pc:spChg>
        <pc:spChg chg="add mod">
          <ac:chgData name="Scott Sink" userId="007532c1-63dd-4f29-9932-df3a9735f490" providerId="ADAL" clId="{9E3C8D41-9167-4835-BE54-6D463ECD2610}" dt="2023-04-16T10:22:10.838" v="3332" actId="20577"/>
          <ac:spMkLst>
            <pc:docMk/>
            <pc:sldMk cId="985217198" sldId="3603"/>
            <ac:spMk id="20" creationId="{9EA92477-BDAD-061B-15D6-B2A787979BFB}"/>
          </ac:spMkLst>
        </pc:spChg>
        <pc:picChg chg="add del mod">
          <ac:chgData name="Scott Sink" userId="007532c1-63dd-4f29-9932-df3a9735f490" providerId="ADAL" clId="{9E3C8D41-9167-4835-BE54-6D463ECD2610}" dt="2023-04-16T09:51:27.927" v="2745" actId="478"/>
          <ac:picMkLst>
            <pc:docMk/>
            <pc:sldMk cId="985217198" sldId="3603"/>
            <ac:picMk id="6" creationId="{6F11B3E2-F3B2-9042-F2E4-6A6761867775}"/>
          </ac:picMkLst>
        </pc:picChg>
        <pc:picChg chg="add del mod">
          <ac:chgData name="Scott Sink" userId="007532c1-63dd-4f29-9932-df3a9735f490" providerId="ADAL" clId="{9E3C8D41-9167-4835-BE54-6D463ECD2610}" dt="2023-04-16T09:51:27.302" v="2744" actId="478"/>
          <ac:picMkLst>
            <pc:docMk/>
            <pc:sldMk cId="985217198" sldId="3603"/>
            <ac:picMk id="8" creationId="{CD2C4AC9-BBC6-BDC9-4E31-61BD19601D4F}"/>
          </ac:picMkLst>
        </pc:picChg>
        <pc:picChg chg="add del mod">
          <ac:chgData name="Scott Sink" userId="007532c1-63dd-4f29-9932-df3a9735f490" providerId="ADAL" clId="{9E3C8D41-9167-4835-BE54-6D463ECD2610}" dt="2023-04-16T09:51:28.582" v="2746" actId="478"/>
          <ac:picMkLst>
            <pc:docMk/>
            <pc:sldMk cId="985217198" sldId="3603"/>
            <ac:picMk id="10" creationId="{7C0FB243-5006-ABB8-DF8C-12D874BC486B}"/>
          </ac:picMkLst>
        </pc:picChg>
        <pc:picChg chg="add del mod">
          <ac:chgData name="Scott Sink" userId="007532c1-63dd-4f29-9932-df3a9735f490" providerId="ADAL" clId="{9E3C8D41-9167-4835-BE54-6D463ECD2610}" dt="2023-04-16T09:51:29.196" v="2747" actId="478"/>
          <ac:picMkLst>
            <pc:docMk/>
            <pc:sldMk cId="985217198" sldId="3603"/>
            <ac:picMk id="12" creationId="{BFD5A692-5DF4-0713-DE4F-1FE34437AA44}"/>
          </ac:picMkLst>
        </pc:picChg>
        <pc:picChg chg="add mod">
          <ac:chgData name="Scott Sink" userId="007532c1-63dd-4f29-9932-df3a9735f490" providerId="ADAL" clId="{9E3C8D41-9167-4835-BE54-6D463ECD2610}" dt="2023-04-16T10:22:30.825" v="3333" actId="1076"/>
          <ac:picMkLst>
            <pc:docMk/>
            <pc:sldMk cId="985217198" sldId="3603"/>
            <ac:picMk id="14" creationId="{41E9ABA5-744B-A398-1A9A-D02A0285D9FF}"/>
          </ac:picMkLst>
        </pc:picChg>
        <pc:picChg chg="add mod">
          <ac:chgData name="Scott Sink" userId="007532c1-63dd-4f29-9932-df3a9735f490" providerId="ADAL" clId="{9E3C8D41-9167-4835-BE54-6D463ECD2610}" dt="2023-04-16T10:22:38.066" v="3337" actId="1076"/>
          <ac:picMkLst>
            <pc:docMk/>
            <pc:sldMk cId="985217198" sldId="3603"/>
            <ac:picMk id="16" creationId="{13F67B5E-2B59-7B23-8B16-48AAF16CDC82}"/>
          </ac:picMkLst>
        </pc:picChg>
        <pc:picChg chg="add mod">
          <ac:chgData name="Scott Sink" userId="007532c1-63dd-4f29-9932-df3a9735f490" providerId="ADAL" clId="{9E3C8D41-9167-4835-BE54-6D463ECD2610}" dt="2023-04-16T10:22:36.476" v="3336" actId="1076"/>
          <ac:picMkLst>
            <pc:docMk/>
            <pc:sldMk cId="985217198" sldId="3603"/>
            <ac:picMk id="17" creationId="{6DC9C90C-4793-DA69-873D-31B92B933716}"/>
          </ac:picMkLst>
        </pc:picChg>
        <pc:picChg chg="add mod">
          <ac:chgData name="Scott Sink" userId="007532c1-63dd-4f29-9932-df3a9735f490" providerId="ADAL" clId="{9E3C8D41-9167-4835-BE54-6D463ECD2610}" dt="2023-04-16T10:22:42.720" v="3340" actId="1076"/>
          <ac:picMkLst>
            <pc:docMk/>
            <pc:sldMk cId="985217198" sldId="3603"/>
            <ac:picMk id="19" creationId="{32DCF1F1-6118-EF92-6A9A-94F7EA9170D5}"/>
          </ac:picMkLst>
        </pc:picChg>
        <pc:picChg chg="add mod">
          <ac:chgData name="Scott Sink" userId="007532c1-63dd-4f29-9932-df3a9735f490" providerId="ADAL" clId="{9E3C8D41-9167-4835-BE54-6D463ECD2610}" dt="2023-04-16T10:23:13.412" v="3372" actId="1076"/>
          <ac:picMkLst>
            <pc:docMk/>
            <pc:sldMk cId="985217198" sldId="3603"/>
            <ac:picMk id="21" creationId="{F0FEA507-2F90-51BF-03D2-888AABF4FC3B}"/>
          </ac:picMkLst>
        </pc:picChg>
        <pc:picChg chg="add mod">
          <ac:chgData name="Scott Sink" userId="007532c1-63dd-4f29-9932-df3a9735f490" providerId="ADAL" clId="{9E3C8D41-9167-4835-BE54-6D463ECD2610}" dt="2023-04-16T10:23:29.193" v="3374" actId="1076"/>
          <ac:picMkLst>
            <pc:docMk/>
            <pc:sldMk cId="985217198" sldId="3603"/>
            <ac:picMk id="22" creationId="{F470191B-F04A-24E4-6FA1-3738105BE287}"/>
          </ac:picMkLst>
        </pc:picChg>
      </pc:sldChg>
      <pc:sldChg chg="add del ord">
        <pc:chgData name="Scott Sink" userId="007532c1-63dd-4f29-9932-df3a9735f490" providerId="ADAL" clId="{9E3C8D41-9167-4835-BE54-6D463ECD2610}" dt="2023-04-17T11:23:05.931" v="4946"/>
        <pc:sldMkLst>
          <pc:docMk/>
          <pc:sldMk cId="3115082838" sldId="3612"/>
        </pc:sldMkLst>
      </pc:sldChg>
      <pc:sldChg chg="del">
        <pc:chgData name="Scott Sink" userId="007532c1-63dd-4f29-9932-df3a9735f490" providerId="ADAL" clId="{9E3C8D41-9167-4835-BE54-6D463ECD2610}" dt="2023-04-10T10:52:38.174" v="1098" actId="47"/>
        <pc:sldMkLst>
          <pc:docMk/>
          <pc:sldMk cId="3384557778" sldId="3613"/>
        </pc:sldMkLst>
      </pc:sldChg>
      <pc:sldChg chg="addSp modSp mod">
        <pc:chgData name="Scott Sink" userId="007532c1-63dd-4f29-9932-df3a9735f490" providerId="ADAL" clId="{9E3C8D41-9167-4835-BE54-6D463ECD2610}" dt="2023-04-16T09:43:38.627" v="2402" actId="20577"/>
        <pc:sldMkLst>
          <pc:docMk/>
          <pc:sldMk cId="46988055" sldId="3614"/>
        </pc:sldMkLst>
        <pc:spChg chg="mod">
          <ac:chgData name="Scott Sink" userId="007532c1-63dd-4f29-9932-df3a9735f490" providerId="ADAL" clId="{9E3C8D41-9167-4835-BE54-6D463ECD2610}" dt="2023-04-16T09:43:38.627" v="2402" actId="20577"/>
          <ac:spMkLst>
            <pc:docMk/>
            <pc:sldMk cId="46988055" sldId="3614"/>
            <ac:spMk id="2" creationId="{E1E0086A-5BF8-7173-D3A9-BF6931F43FA3}"/>
          </ac:spMkLst>
        </pc:spChg>
        <pc:picChg chg="add mod">
          <ac:chgData name="Scott Sink" userId="007532c1-63dd-4f29-9932-df3a9735f490" providerId="ADAL" clId="{9E3C8D41-9167-4835-BE54-6D463ECD2610}" dt="2023-04-10T10:51:48.105" v="1082" actId="1076"/>
          <ac:picMkLst>
            <pc:docMk/>
            <pc:sldMk cId="46988055" sldId="3614"/>
            <ac:picMk id="3" creationId="{C3B2E1ED-D114-2F5E-F569-E0C734195579}"/>
          </ac:picMkLst>
        </pc:picChg>
      </pc:sldChg>
      <pc:sldChg chg="del">
        <pc:chgData name="Scott Sink" userId="007532c1-63dd-4f29-9932-df3a9735f490" providerId="ADAL" clId="{9E3C8D41-9167-4835-BE54-6D463ECD2610}" dt="2023-04-10T11:22:31.726" v="2355" actId="47"/>
        <pc:sldMkLst>
          <pc:docMk/>
          <pc:sldMk cId="1014058352" sldId="3615"/>
        </pc:sldMkLst>
      </pc:sldChg>
      <pc:sldChg chg="del">
        <pc:chgData name="Scott Sink" userId="007532c1-63dd-4f29-9932-df3a9735f490" providerId="ADAL" clId="{9E3C8D41-9167-4835-BE54-6D463ECD2610}" dt="2023-04-10T11:22:38.287" v="2356" actId="47"/>
        <pc:sldMkLst>
          <pc:docMk/>
          <pc:sldMk cId="83943494" sldId="3616"/>
        </pc:sldMkLst>
      </pc:sldChg>
      <pc:sldChg chg="addSp delSp modSp add mod ord">
        <pc:chgData name="Scott Sink" userId="007532c1-63dd-4f29-9932-df3a9735f490" providerId="ADAL" clId="{9E3C8D41-9167-4835-BE54-6D463ECD2610}" dt="2023-04-10T10:48:39.674" v="929" actId="14100"/>
        <pc:sldMkLst>
          <pc:docMk/>
          <pc:sldMk cId="3858186052" sldId="3617"/>
        </pc:sldMkLst>
        <pc:spChg chg="mod">
          <ac:chgData name="Scott Sink" userId="007532c1-63dd-4f29-9932-df3a9735f490" providerId="ADAL" clId="{9E3C8D41-9167-4835-BE54-6D463ECD2610}" dt="2023-04-10T10:48:00.236" v="924" actId="1076"/>
          <ac:spMkLst>
            <pc:docMk/>
            <pc:sldMk cId="3858186052" sldId="3617"/>
            <ac:spMk id="3" creationId="{5CB5E778-EB37-08BC-8A65-E0A5BEF24F5F}"/>
          </ac:spMkLst>
        </pc:spChg>
        <pc:spChg chg="mod">
          <ac:chgData name="Scott Sink" userId="007532c1-63dd-4f29-9932-df3a9735f490" providerId="ADAL" clId="{9E3C8D41-9167-4835-BE54-6D463ECD2610}" dt="2023-04-10T10:39:51.553" v="282" actId="1076"/>
          <ac:spMkLst>
            <pc:docMk/>
            <pc:sldMk cId="3858186052" sldId="3617"/>
            <ac:spMk id="6" creationId="{C5018F96-B3E6-1C7C-503A-A6964F5B4827}"/>
          </ac:spMkLst>
        </pc:spChg>
        <pc:spChg chg="del mod">
          <ac:chgData name="Scott Sink" userId="007532c1-63dd-4f29-9932-df3a9735f490" providerId="ADAL" clId="{9E3C8D41-9167-4835-BE54-6D463ECD2610}" dt="2023-04-10T10:33:59.976" v="112" actId="478"/>
          <ac:spMkLst>
            <pc:docMk/>
            <pc:sldMk cId="3858186052" sldId="3617"/>
            <ac:spMk id="8" creationId="{834A3D95-AABF-15B2-B130-31997D858343}"/>
          </ac:spMkLst>
        </pc:spChg>
        <pc:spChg chg="del mod">
          <ac:chgData name="Scott Sink" userId="007532c1-63dd-4f29-9932-df3a9735f490" providerId="ADAL" clId="{9E3C8D41-9167-4835-BE54-6D463ECD2610}" dt="2023-04-10T10:33:56.130" v="110" actId="478"/>
          <ac:spMkLst>
            <pc:docMk/>
            <pc:sldMk cId="3858186052" sldId="3617"/>
            <ac:spMk id="9" creationId="{234F1F37-5877-D412-832C-5AB78F1305C6}"/>
          </ac:spMkLst>
        </pc:spChg>
        <pc:spChg chg="mod">
          <ac:chgData name="Scott Sink" userId="007532c1-63dd-4f29-9932-df3a9735f490" providerId="ADAL" clId="{9E3C8D41-9167-4835-BE54-6D463ECD2610}" dt="2023-04-10T10:32:42.926" v="73" actId="20577"/>
          <ac:spMkLst>
            <pc:docMk/>
            <pc:sldMk cId="3858186052" sldId="3617"/>
            <ac:spMk id="10" creationId="{B47D77AC-10E5-F7CA-1821-CA4162CCE788}"/>
          </ac:spMkLst>
        </pc:spChg>
        <pc:spChg chg="add del mod">
          <ac:chgData name="Scott Sink" userId="007532c1-63dd-4f29-9932-df3a9735f490" providerId="ADAL" clId="{9E3C8D41-9167-4835-BE54-6D463ECD2610}" dt="2023-04-10T10:37:26.361" v="180"/>
          <ac:spMkLst>
            <pc:docMk/>
            <pc:sldMk cId="3858186052" sldId="3617"/>
            <ac:spMk id="13" creationId="{AB83E98B-72ED-CD8E-8CE8-4FFCFAE0AD6F}"/>
          </ac:spMkLst>
        </pc:spChg>
        <pc:spChg chg="add del mod">
          <ac:chgData name="Scott Sink" userId="007532c1-63dd-4f29-9932-df3a9735f490" providerId="ADAL" clId="{9E3C8D41-9167-4835-BE54-6D463ECD2610}" dt="2023-04-10T10:37:26.376" v="182"/>
          <ac:spMkLst>
            <pc:docMk/>
            <pc:sldMk cId="3858186052" sldId="3617"/>
            <ac:spMk id="14" creationId="{C2F3824B-B2AF-E9A4-B753-0F0868E3495D}"/>
          </ac:spMkLst>
        </pc:spChg>
        <pc:spChg chg="add del mod">
          <ac:chgData name="Scott Sink" userId="007532c1-63dd-4f29-9932-df3a9735f490" providerId="ADAL" clId="{9E3C8D41-9167-4835-BE54-6D463ECD2610}" dt="2023-04-10T10:37:26.376" v="184"/>
          <ac:spMkLst>
            <pc:docMk/>
            <pc:sldMk cId="3858186052" sldId="3617"/>
            <ac:spMk id="18" creationId="{5FD14AED-A4E9-359E-A7CA-5C6445C46D4F}"/>
          </ac:spMkLst>
        </pc:spChg>
        <pc:spChg chg="add mod">
          <ac:chgData name="Scott Sink" userId="007532c1-63dd-4f29-9932-df3a9735f490" providerId="ADAL" clId="{9E3C8D41-9167-4835-BE54-6D463ECD2610}" dt="2023-04-10T10:39:25.042" v="275" actId="1076"/>
          <ac:spMkLst>
            <pc:docMk/>
            <pc:sldMk cId="3858186052" sldId="3617"/>
            <ac:spMk id="19" creationId="{56B87C1C-A03F-D739-5E61-58304DA481D8}"/>
          </ac:spMkLst>
        </pc:spChg>
        <pc:spChg chg="mod">
          <ac:chgData name="Scott Sink" userId="007532c1-63dd-4f29-9932-df3a9735f490" providerId="ADAL" clId="{9E3C8D41-9167-4835-BE54-6D463ECD2610}" dt="2023-04-10T10:33:49.426" v="108" actId="20577"/>
          <ac:spMkLst>
            <pc:docMk/>
            <pc:sldMk cId="3858186052" sldId="3617"/>
            <ac:spMk id="22" creationId="{693B6C1D-D021-4EC9-AC66-7E12E6EAE67F}"/>
          </ac:spMkLst>
        </pc:spChg>
        <pc:spChg chg="add mod">
          <ac:chgData name="Scott Sink" userId="007532c1-63dd-4f29-9932-df3a9735f490" providerId="ADAL" clId="{9E3C8D41-9167-4835-BE54-6D463ECD2610}" dt="2023-04-10T10:39:44.259" v="280" actId="1076"/>
          <ac:spMkLst>
            <pc:docMk/>
            <pc:sldMk cId="3858186052" sldId="3617"/>
            <ac:spMk id="23" creationId="{4EA0D366-CE29-FBA8-36F6-A526371ECC4E}"/>
          </ac:spMkLst>
        </pc:spChg>
        <pc:spChg chg="mod">
          <ac:chgData name="Scott Sink" userId="007532c1-63dd-4f29-9932-df3a9735f490" providerId="ADAL" clId="{9E3C8D41-9167-4835-BE54-6D463ECD2610}" dt="2023-04-10T10:33:33.798" v="91" actId="404"/>
          <ac:spMkLst>
            <pc:docMk/>
            <pc:sldMk cId="3858186052" sldId="3617"/>
            <ac:spMk id="28" creationId="{BA4CEFC9-7EA0-4E3D-8519-C99F7A7D0F70}"/>
          </ac:spMkLst>
        </pc:spChg>
        <pc:picChg chg="add mod">
          <ac:chgData name="Scott Sink" userId="007532c1-63dd-4f29-9932-df3a9735f490" providerId="ADAL" clId="{9E3C8D41-9167-4835-BE54-6D463ECD2610}" dt="2023-04-10T10:34:12.029" v="115" actId="1076"/>
          <ac:picMkLst>
            <pc:docMk/>
            <pc:sldMk cId="3858186052" sldId="3617"/>
            <ac:picMk id="4" creationId="{3278AFBD-8904-291A-2A95-535DC0C61C7F}"/>
          </ac:picMkLst>
        </pc:picChg>
        <pc:picChg chg="del">
          <ac:chgData name="Scott Sink" userId="007532c1-63dd-4f29-9932-df3a9735f490" providerId="ADAL" clId="{9E3C8D41-9167-4835-BE54-6D463ECD2610}" dt="2023-04-10T10:33:26.052" v="88" actId="478"/>
          <ac:picMkLst>
            <pc:docMk/>
            <pc:sldMk cId="3858186052" sldId="3617"/>
            <ac:picMk id="11" creationId="{0FFEA317-821E-2DC8-BCFC-C211A9134060}"/>
          </ac:picMkLst>
        </pc:picChg>
        <pc:picChg chg="add mod">
          <ac:chgData name="Scott Sink" userId="007532c1-63dd-4f29-9932-df3a9735f490" providerId="ADAL" clId="{9E3C8D41-9167-4835-BE54-6D463ECD2610}" dt="2023-04-10T10:39:26.742" v="276" actId="1076"/>
          <ac:picMkLst>
            <pc:docMk/>
            <pc:sldMk cId="3858186052" sldId="3617"/>
            <ac:picMk id="12" creationId="{521E15FE-920F-415A-3FC3-E38436698BAB}"/>
          </ac:picMkLst>
        </pc:picChg>
        <pc:picChg chg="del">
          <ac:chgData name="Scott Sink" userId="007532c1-63dd-4f29-9932-df3a9735f490" providerId="ADAL" clId="{9E3C8D41-9167-4835-BE54-6D463ECD2610}" dt="2023-04-10T10:48:11.074" v="926" actId="478"/>
          <ac:picMkLst>
            <pc:docMk/>
            <pc:sldMk cId="3858186052" sldId="3617"/>
            <ac:picMk id="15" creationId="{ADC8ABD6-C976-6805-52C2-0F24B8251203}"/>
          </ac:picMkLst>
        </pc:picChg>
        <pc:picChg chg="del">
          <ac:chgData name="Scott Sink" userId="007532c1-63dd-4f29-9932-df3a9735f490" providerId="ADAL" clId="{9E3C8D41-9167-4835-BE54-6D463ECD2610}" dt="2023-04-10T10:32:52.509" v="74" actId="478"/>
          <ac:picMkLst>
            <pc:docMk/>
            <pc:sldMk cId="3858186052" sldId="3617"/>
            <ac:picMk id="17" creationId="{AA090982-7CCA-75C4-1C01-D70BCAC61367}"/>
          </ac:picMkLst>
        </pc:picChg>
        <pc:picChg chg="add mod">
          <ac:chgData name="Scott Sink" userId="007532c1-63dd-4f29-9932-df3a9735f490" providerId="ADAL" clId="{9E3C8D41-9167-4835-BE54-6D463ECD2610}" dt="2023-04-10T10:39:46.322" v="281" actId="1076"/>
          <ac:picMkLst>
            <pc:docMk/>
            <pc:sldMk cId="3858186052" sldId="3617"/>
            <ac:picMk id="21" creationId="{2D47B59B-5914-AD91-AD4B-1A595DEEE575}"/>
          </ac:picMkLst>
        </pc:picChg>
        <pc:picChg chg="add mod">
          <ac:chgData name="Scott Sink" userId="007532c1-63dd-4f29-9932-df3a9735f490" providerId="ADAL" clId="{9E3C8D41-9167-4835-BE54-6D463ECD2610}" dt="2023-04-10T10:48:39.674" v="929" actId="14100"/>
          <ac:picMkLst>
            <pc:docMk/>
            <pc:sldMk cId="3858186052" sldId="3617"/>
            <ac:picMk id="24" creationId="{A6A71D98-28D0-E3E9-275A-21B2E8EDB4D0}"/>
          </ac:picMkLst>
        </pc:picChg>
      </pc:sldChg>
      <pc:sldChg chg="addSp modSp add mod ord">
        <pc:chgData name="Scott Sink" userId="007532c1-63dd-4f29-9932-df3a9735f490" providerId="ADAL" clId="{9E3C8D41-9167-4835-BE54-6D463ECD2610}" dt="2023-04-18T10:13:49.133" v="7461" actId="20577"/>
        <pc:sldMkLst>
          <pc:docMk/>
          <pc:sldMk cId="3939640140" sldId="3618"/>
        </pc:sldMkLst>
        <pc:spChg chg="mod">
          <ac:chgData name="Scott Sink" userId="007532c1-63dd-4f29-9932-df3a9735f490" providerId="ADAL" clId="{9E3C8D41-9167-4835-BE54-6D463ECD2610}" dt="2023-04-18T10:13:49.133" v="7461" actId="20577"/>
          <ac:spMkLst>
            <pc:docMk/>
            <pc:sldMk cId="3939640140" sldId="3618"/>
            <ac:spMk id="3" creationId="{A5A8E09D-F143-AC8C-4127-0ABEDD96C64B}"/>
          </ac:spMkLst>
        </pc:spChg>
        <pc:spChg chg="add mod">
          <ac:chgData name="Scott Sink" userId="007532c1-63dd-4f29-9932-df3a9735f490" providerId="ADAL" clId="{9E3C8D41-9167-4835-BE54-6D463ECD2610}" dt="2023-04-18T05:22:46.369" v="7086" actId="1076"/>
          <ac:spMkLst>
            <pc:docMk/>
            <pc:sldMk cId="3939640140" sldId="3618"/>
            <ac:spMk id="5" creationId="{BD119F5D-19E2-ECEF-100F-32C90BA4E4C8}"/>
          </ac:spMkLst>
        </pc:spChg>
        <pc:spChg chg="add mod">
          <ac:chgData name="Scott Sink" userId="007532c1-63dd-4f29-9932-df3a9735f490" providerId="ADAL" clId="{9E3C8D41-9167-4835-BE54-6D463ECD2610}" dt="2023-04-18T05:22:42.099" v="7085" actId="14100"/>
          <ac:spMkLst>
            <pc:docMk/>
            <pc:sldMk cId="3939640140" sldId="3618"/>
            <ac:spMk id="6" creationId="{A568D454-ADD5-6F63-CA8A-7EE4FE147F51}"/>
          </ac:spMkLst>
        </pc:spChg>
      </pc:sldChg>
      <pc:sldChg chg="addSp delSp modSp add del mod ord">
        <pc:chgData name="Scott Sink" userId="007532c1-63dd-4f29-9932-df3a9735f490" providerId="ADAL" clId="{9E3C8D41-9167-4835-BE54-6D463ECD2610}" dt="2023-04-18T10:14:43.630" v="7471" actId="47"/>
        <pc:sldMkLst>
          <pc:docMk/>
          <pc:sldMk cId="49472227" sldId="3619"/>
        </pc:sldMkLst>
        <pc:spChg chg="mod">
          <ac:chgData name="Scott Sink" userId="007532c1-63dd-4f29-9932-df3a9735f490" providerId="ADAL" clId="{9E3C8D41-9167-4835-BE54-6D463ECD2610}" dt="2023-04-16T10:12:17.682" v="3248" actId="27636"/>
          <ac:spMkLst>
            <pc:docMk/>
            <pc:sldMk cId="49472227" sldId="3619"/>
            <ac:spMk id="3" creationId="{A5A8E09D-F143-AC8C-4127-0ABEDD96C64B}"/>
          </ac:spMkLst>
        </pc:spChg>
        <pc:spChg chg="del mod">
          <ac:chgData name="Scott Sink" userId="007532c1-63dd-4f29-9932-df3a9735f490" providerId="ADAL" clId="{9E3C8D41-9167-4835-BE54-6D463ECD2610}" dt="2023-04-17T11:12:41.511" v="4804" actId="478"/>
          <ac:spMkLst>
            <pc:docMk/>
            <pc:sldMk cId="49472227" sldId="3619"/>
            <ac:spMk id="5" creationId="{BD119F5D-19E2-ECEF-100F-32C90BA4E4C8}"/>
          </ac:spMkLst>
        </pc:spChg>
        <pc:spChg chg="add mod">
          <ac:chgData name="Scott Sink" userId="007532c1-63dd-4f29-9932-df3a9735f490" providerId="ADAL" clId="{9E3C8D41-9167-4835-BE54-6D463ECD2610}" dt="2023-04-16T10:12:23.092" v="3249" actId="1076"/>
          <ac:spMkLst>
            <pc:docMk/>
            <pc:sldMk cId="49472227" sldId="3619"/>
            <ac:spMk id="6" creationId="{F5FA34A8-ECC0-FEC2-79F6-0A4B213195AE}"/>
          </ac:spMkLst>
        </pc:spChg>
        <pc:spChg chg="add del mod">
          <ac:chgData name="Scott Sink" userId="007532c1-63dd-4f29-9932-df3a9735f490" providerId="ADAL" clId="{9E3C8D41-9167-4835-BE54-6D463ECD2610}" dt="2023-04-18T10:14:19.807" v="7465" actId="21"/>
          <ac:spMkLst>
            <pc:docMk/>
            <pc:sldMk cId="49472227" sldId="3619"/>
            <ac:spMk id="7" creationId="{6B833083-2031-977C-27B6-709DE4177A2A}"/>
          </ac:spMkLst>
        </pc:spChg>
      </pc:sldChg>
      <pc:sldChg chg="modSp add del mod ord">
        <pc:chgData name="Scott Sink" userId="007532c1-63dd-4f29-9932-df3a9735f490" providerId="ADAL" clId="{9E3C8D41-9167-4835-BE54-6D463ECD2610}" dt="2023-04-16T10:28:04.947" v="3413" actId="47"/>
        <pc:sldMkLst>
          <pc:docMk/>
          <pc:sldMk cId="72651237" sldId="3620"/>
        </pc:sldMkLst>
        <pc:spChg chg="mod">
          <ac:chgData name="Scott Sink" userId="007532c1-63dd-4f29-9932-df3a9735f490" providerId="ADAL" clId="{9E3C8D41-9167-4835-BE54-6D463ECD2610}" dt="2023-04-16T10:27:54.293" v="3409" actId="1076"/>
          <ac:spMkLst>
            <pc:docMk/>
            <pc:sldMk cId="72651237" sldId="3620"/>
            <ac:spMk id="6" creationId="{F5FA34A8-ECC0-FEC2-79F6-0A4B213195AE}"/>
          </ac:spMkLst>
        </pc:spChg>
      </pc:sldChg>
      <pc:sldChg chg="modSp add del mod">
        <pc:chgData name="Scott Sink" userId="007532c1-63dd-4f29-9932-df3a9735f490" providerId="ADAL" clId="{9E3C8D41-9167-4835-BE54-6D463ECD2610}" dt="2023-04-16T10:28:29.379" v="3418" actId="47"/>
        <pc:sldMkLst>
          <pc:docMk/>
          <pc:sldMk cId="1886648351" sldId="3621"/>
        </pc:sldMkLst>
        <pc:spChg chg="mod">
          <ac:chgData name="Scott Sink" userId="007532c1-63dd-4f29-9932-df3a9735f490" providerId="ADAL" clId="{9E3C8D41-9167-4835-BE54-6D463ECD2610}" dt="2023-04-10T10:54:33.240" v="1140" actId="14100"/>
          <ac:spMkLst>
            <pc:docMk/>
            <pc:sldMk cId="1886648351" sldId="3621"/>
            <ac:spMk id="6" creationId="{F5FA34A8-ECC0-FEC2-79F6-0A4B213195AE}"/>
          </ac:spMkLst>
        </pc:spChg>
      </pc:sldChg>
      <pc:sldChg chg="modSp new mod">
        <pc:chgData name="Scott Sink" userId="007532c1-63dd-4f29-9932-df3a9735f490" providerId="ADAL" clId="{9E3C8D41-9167-4835-BE54-6D463ECD2610}" dt="2023-04-17T11:08:14.231" v="4797" actId="1076"/>
        <pc:sldMkLst>
          <pc:docMk/>
          <pc:sldMk cId="3121620661" sldId="3622"/>
        </pc:sldMkLst>
        <pc:spChg chg="mod">
          <ac:chgData name="Scott Sink" userId="007532c1-63dd-4f29-9932-df3a9735f490" providerId="ADAL" clId="{9E3C8D41-9167-4835-BE54-6D463ECD2610}" dt="2023-04-10T11:02:36.026" v="1146" actId="20577"/>
          <ac:spMkLst>
            <pc:docMk/>
            <pc:sldMk cId="3121620661" sldId="3622"/>
            <ac:spMk id="2" creationId="{F57C5E07-DB5B-55F2-6F01-6B61AC3D8F04}"/>
          </ac:spMkLst>
        </pc:spChg>
        <pc:spChg chg="mod">
          <ac:chgData name="Scott Sink" userId="007532c1-63dd-4f29-9932-df3a9735f490" providerId="ADAL" clId="{9E3C8D41-9167-4835-BE54-6D463ECD2610}" dt="2023-04-17T11:08:14.231" v="4797" actId="1076"/>
          <ac:spMkLst>
            <pc:docMk/>
            <pc:sldMk cId="3121620661" sldId="3622"/>
            <ac:spMk id="3" creationId="{D52268DB-61E4-27E1-5D29-0E7DE9B5711D}"/>
          </ac:spMkLst>
        </pc:spChg>
      </pc:sldChg>
      <pc:sldChg chg="addSp delSp modSp add mod">
        <pc:chgData name="Scott Sink" userId="007532c1-63dd-4f29-9932-df3a9735f490" providerId="ADAL" clId="{9E3C8D41-9167-4835-BE54-6D463ECD2610}" dt="2023-04-16T09:46:03.561" v="2538" actId="20577"/>
        <pc:sldMkLst>
          <pc:docMk/>
          <pc:sldMk cId="4090951317" sldId="3623"/>
        </pc:sldMkLst>
        <pc:spChg chg="add mod">
          <ac:chgData name="Scott Sink" userId="007532c1-63dd-4f29-9932-df3a9735f490" providerId="ADAL" clId="{9E3C8D41-9167-4835-BE54-6D463ECD2610}" dt="2023-04-10T11:20:16.209" v="2334" actId="20577"/>
          <ac:spMkLst>
            <pc:docMk/>
            <pc:sldMk cId="4090951317" sldId="3623"/>
            <ac:spMk id="4" creationId="{0D0F99CD-3D99-4749-94B3-B98145487B15}"/>
          </ac:spMkLst>
        </pc:spChg>
        <pc:spChg chg="add mod">
          <ac:chgData name="Scott Sink" userId="007532c1-63dd-4f29-9932-df3a9735f490" providerId="ADAL" clId="{9E3C8D41-9167-4835-BE54-6D463ECD2610}" dt="2023-04-10T11:18:28.124" v="2196" actId="1076"/>
          <ac:spMkLst>
            <pc:docMk/>
            <pc:sldMk cId="4090951317" sldId="3623"/>
            <ac:spMk id="5" creationId="{C51DC1DE-FC17-A749-7651-89A402DA5B82}"/>
          </ac:spMkLst>
        </pc:spChg>
        <pc:spChg chg="add mod">
          <ac:chgData name="Scott Sink" userId="007532c1-63dd-4f29-9932-df3a9735f490" providerId="ADAL" clId="{9E3C8D41-9167-4835-BE54-6D463ECD2610}" dt="2023-04-10T11:20:44.499" v="2335" actId="20577"/>
          <ac:spMkLst>
            <pc:docMk/>
            <pc:sldMk cId="4090951317" sldId="3623"/>
            <ac:spMk id="6" creationId="{3632891E-1371-F5A1-C86E-DCB7FAFA8828}"/>
          </ac:spMkLst>
        </pc:spChg>
        <pc:spChg chg="add mod">
          <ac:chgData name="Scott Sink" userId="007532c1-63dd-4f29-9932-df3a9735f490" providerId="ADAL" clId="{9E3C8D41-9167-4835-BE54-6D463ECD2610}" dt="2023-04-16T09:45:18.677" v="2482" actId="1076"/>
          <ac:spMkLst>
            <pc:docMk/>
            <pc:sldMk cId="4090951317" sldId="3623"/>
            <ac:spMk id="7" creationId="{8B3DE0C7-BB83-8552-004A-8CF8FA1ABF94}"/>
          </ac:spMkLst>
        </pc:spChg>
        <pc:spChg chg="add mod">
          <ac:chgData name="Scott Sink" userId="007532c1-63dd-4f29-9932-df3a9735f490" providerId="ADAL" clId="{9E3C8D41-9167-4835-BE54-6D463ECD2610}" dt="2023-04-16T09:45:14.760" v="2481" actId="1076"/>
          <ac:spMkLst>
            <pc:docMk/>
            <pc:sldMk cId="4090951317" sldId="3623"/>
            <ac:spMk id="8" creationId="{6F8BFE50-6F1C-1975-7CB5-07549C90B25D}"/>
          </ac:spMkLst>
        </pc:spChg>
        <pc:spChg chg="add mod">
          <ac:chgData name="Scott Sink" userId="007532c1-63dd-4f29-9932-df3a9735f490" providerId="ADAL" clId="{9E3C8D41-9167-4835-BE54-6D463ECD2610}" dt="2023-04-10T11:21:32.876" v="2353" actId="20577"/>
          <ac:spMkLst>
            <pc:docMk/>
            <pc:sldMk cId="4090951317" sldId="3623"/>
            <ac:spMk id="9" creationId="{E6914DFD-8064-1084-C3F5-A54F23444D59}"/>
          </ac:spMkLst>
        </pc:spChg>
        <pc:spChg chg="add mod">
          <ac:chgData name="Scott Sink" userId="007532c1-63dd-4f29-9932-df3a9735f490" providerId="ADAL" clId="{9E3C8D41-9167-4835-BE54-6D463ECD2610}" dt="2023-04-10T11:19:44.175" v="2321" actId="20577"/>
          <ac:spMkLst>
            <pc:docMk/>
            <pc:sldMk cId="4090951317" sldId="3623"/>
            <ac:spMk id="10" creationId="{340B5619-6CC6-F9EB-4D74-E673FA653768}"/>
          </ac:spMkLst>
        </pc:spChg>
        <pc:spChg chg="add mod">
          <ac:chgData name="Scott Sink" userId="007532c1-63dd-4f29-9932-df3a9735f490" providerId="ADAL" clId="{9E3C8D41-9167-4835-BE54-6D463ECD2610}" dt="2023-04-16T09:46:03.561" v="2538" actId="20577"/>
          <ac:spMkLst>
            <pc:docMk/>
            <pc:sldMk cId="4090951317" sldId="3623"/>
            <ac:spMk id="11" creationId="{8AC13123-CCA6-C213-A214-620B0BA47248}"/>
          </ac:spMkLst>
        </pc:spChg>
        <pc:spChg chg="del">
          <ac:chgData name="Scott Sink" userId="007532c1-63dd-4f29-9932-df3a9735f490" providerId="ADAL" clId="{9E3C8D41-9167-4835-BE54-6D463ECD2610}" dt="2023-04-10T11:08:50.531" v="1669" actId="478"/>
          <ac:spMkLst>
            <pc:docMk/>
            <pc:sldMk cId="4090951317" sldId="3623"/>
            <ac:spMk id="27656" creationId="{4C18286E-B858-4AE7-A906-BC587D69642E}"/>
          </ac:spMkLst>
        </pc:spChg>
        <pc:spChg chg="del">
          <ac:chgData name="Scott Sink" userId="007532c1-63dd-4f29-9932-df3a9735f490" providerId="ADAL" clId="{9E3C8D41-9167-4835-BE54-6D463ECD2610}" dt="2023-04-10T11:08:45.980" v="1666" actId="478"/>
          <ac:spMkLst>
            <pc:docMk/>
            <pc:sldMk cId="4090951317" sldId="3623"/>
            <ac:spMk id="27657" creationId="{E34D7E2F-48D6-4733-91B0-3AE20A5B2206}"/>
          </ac:spMkLst>
        </pc:spChg>
        <pc:graphicFrameChg chg="del mod">
          <ac:chgData name="Scott Sink" userId="007532c1-63dd-4f29-9932-df3a9735f490" providerId="ADAL" clId="{9E3C8D41-9167-4835-BE54-6D463ECD2610}" dt="2023-04-10T11:08:48.103" v="1668" actId="478"/>
          <ac:graphicFrameMkLst>
            <pc:docMk/>
            <pc:sldMk cId="4090951317" sldId="3623"/>
            <ac:graphicFrameMk id="12" creationId="{D406EAE0-49B0-45EF-9BF0-6B5724EC0A6A}"/>
          </ac:graphicFrameMkLst>
        </pc:graphicFrameChg>
        <pc:picChg chg="del">
          <ac:chgData name="Scott Sink" userId="007532c1-63dd-4f29-9932-df3a9735f490" providerId="ADAL" clId="{9E3C8D41-9167-4835-BE54-6D463ECD2610}" dt="2023-04-10T11:08:43.567" v="1665" actId="478"/>
          <ac:picMkLst>
            <pc:docMk/>
            <pc:sldMk cId="4090951317" sldId="3623"/>
            <ac:picMk id="27654" creationId="{7E22E97A-B4B4-4968-B2C4-CC6952539C16}"/>
          </ac:picMkLst>
        </pc:picChg>
      </pc:sldChg>
      <pc:sldChg chg="addSp modSp add mod">
        <pc:chgData name="Scott Sink" userId="007532c1-63dd-4f29-9932-df3a9735f490" providerId="ADAL" clId="{9E3C8D41-9167-4835-BE54-6D463ECD2610}" dt="2023-04-16T10:21:45.675" v="3319" actId="20577"/>
        <pc:sldMkLst>
          <pc:docMk/>
          <pc:sldMk cId="1989919581" sldId="3624"/>
        </pc:sldMkLst>
        <pc:spChg chg="mod">
          <ac:chgData name="Scott Sink" userId="007532c1-63dd-4f29-9932-df3a9735f490" providerId="ADAL" clId="{9E3C8D41-9167-4835-BE54-6D463ECD2610}" dt="2023-04-16T10:21:45.675" v="3319" actId="20577"/>
          <ac:spMkLst>
            <pc:docMk/>
            <pc:sldMk cId="1989919581" sldId="3624"/>
            <ac:spMk id="4" creationId="{6DB03709-4D62-0C95-17C9-6EEC74CD24EE}"/>
          </ac:spMkLst>
        </pc:spChg>
        <pc:picChg chg="mod">
          <ac:chgData name="Scott Sink" userId="007532c1-63dd-4f29-9932-df3a9735f490" providerId="ADAL" clId="{9E3C8D41-9167-4835-BE54-6D463ECD2610}" dt="2023-04-16T10:18:18.090" v="3269" actId="1076"/>
          <ac:picMkLst>
            <pc:docMk/>
            <pc:sldMk cId="1989919581" sldId="3624"/>
            <ac:picMk id="6" creationId="{6F11B3E2-F3B2-9042-F2E4-6A6761867775}"/>
          </ac:picMkLst>
        </pc:picChg>
        <pc:picChg chg="add mod modCrop">
          <ac:chgData name="Scott Sink" userId="007532c1-63dd-4f29-9932-df3a9735f490" providerId="ADAL" clId="{9E3C8D41-9167-4835-BE54-6D463ECD2610}" dt="2023-04-16T10:18:10.960" v="3267" actId="1076"/>
          <ac:picMkLst>
            <pc:docMk/>
            <pc:sldMk cId="1989919581" sldId="3624"/>
            <ac:picMk id="7" creationId="{F57656F3-46A4-792F-4B06-6A2AF7CB9CD7}"/>
          </ac:picMkLst>
        </pc:picChg>
        <pc:picChg chg="mod">
          <ac:chgData name="Scott Sink" userId="007532c1-63dd-4f29-9932-df3a9735f490" providerId="ADAL" clId="{9E3C8D41-9167-4835-BE54-6D463ECD2610}" dt="2023-04-16T10:18:14.070" v="3268" actId="1076"/>
          <ac:picMkLst>
            <pc:docMk/>
            <pc:sldMk cId="1989919581" sldId="3624"/>
            <ac:picMk id="8" creationId="{CD2C4AC9-BBC6-BDC9-4E31-61BD19601D4F}"/>
          </ac:picMkLst>
        </pc:picChg>
        <pc:picChg chg="mod">
          <ac:chgData name="Scott Sink" userId="007532c1-63dd-4f29-9932-df3a9735f490" providerId="ADAL" clId="{9E3C8D41-9167-4835-BE54-6D463ECD2610}" dt="2023-04-16T10:19:10.904" v="3277" actId="1076"/>
          <ac:picMkLst>
            <pc:docMk/>
            <pc:sldMk cId="1989919581" sldId="3624"/>
            <ac:picMk id="10" creationId="{7C0FB243-5006-ABB8-DF8C-12D874BC486B}"/>
          </ac:picMkLst>
        </pc:picChg>
        <pc:picChg chg="add mod">
          <ac:chgData name="Scott Sink" userId="007532c1-63dd-4f29-9932-df3a9735f490" providerId="ADAL" clId="{9E3C8D41-9167-4835-BE54-6D463ECD2610}" dt="2023-04-16T10:19:02.926" v="3276" actId="1076"/>
          <ac:picMkLst>
            <pc:docMk/>
            <pc:sldMk cId="1989919581" sldId="3624"/>
            <ac:picMk id="11" creationId="{672CB1E1-8334-DDC9-E40A-004CDE1E9A75}"/>
          </ac:picMkLst>
        </pc:picChg>
        <pc:picChg chg="mod">
          <ac:chgData name="Scott Sink" userId="007532c1-63dd-4f29-9932-df3a9735f490" providerId="ADAL" clId="{9E3C8D41-9167-4835-BE54-6D463ECD2610}" dt="2023-04-16T10:20:05.005" v="3286" actId="1076"/>
          <ac:picMkLst>
            <pc:docMk/>
            <pc:sldMk cId="1989919581" sldId="3624"/>
            <ac:picMk id="12" creationId="{BFD5A692-5DF4-0713-DE4F-1FE34437AA44}"/>
          </ac:picMkLst>
        </pc:picChg>
        <pc:picChg chg="add mod modCrop">
          <ac:chgData name="Scott Sink" userId="007532c1-63dd-4f29-9932-df3a9735f490" providerId="ADAL" clId="{9E3C8D41-9167-4835-BE54-6D463ECD2610}" dt="2023-04-16T10:19:57.367" v="3285" actId="1076"/>
          <ac:picMkLst>
            <pc:docMk/>
            <pc:sldMk cId="1989919581" sldId="3624"/>
            <ac:picMk id="14" creationId="{EF8736A0-B65F-BA5E-637C-02B2640DC18B}"/>
          </ac:picMkLst>
        </pc:picChg>
        <pc:picChg chg="add mod">
          <ac:chgData name="Scott Sink" userId="007532c1-63dd-4f29-9932-df3a9735f490" providerId="ADAL" clId="{9E3C8D41-9167-4835-BE54-6D463ECD2610}" dt="2023-04-16T10:20:38.495" v="3293" actId="1076"/>
          <ac:picMkLst>
            <pc:docMk/>
            <pc:sldMk cId="1989919581" sldId="3624"/>
            <ac:picMk id="16" creationId="{FEB273B6-A634-C40F-A407-EE35ABB135EF}"/>
          </ac:picMkLst>
        </pc:picChg>
      </pc:sldChg>
      <pc:sldChg chg="modSp add del mod">
        <pc:chgData name="Scott Sink" userId="007532c1-63dd-4f29-9932-df3a9735f490" providerId="ADAL" clId="{9E3C8D41-9167-4835-BE54-6D463ECD2610}" dt="2023-04-16T10:09:18.178" v="3223" actId="47"/>
        <pc:sldMkLst>
          <pc:docMk/>
          <pc:sldMk cId="232223840" sldId="3625"/>
        </pc:sldMkLst>
        <pc:spChg chg="mod">
          <ac:chgData name="Scott Sink" userId="007532c1-63dd-4f29-9932-df3a9735f490" providerId="ADAL" clId="{9E3C8D41-9167-4835-BE54-6D463ECD2610}" dt="2023-04-16T10:06:50.004" v="3119" actId="1076"/>
          <ac:spMkLst>
            <pc:docMk/>
            <pc:sldMk cId="232223840" sldId="3625"/>
            <ac:spMk id="3" creationId="{6D76E1CA-0434-A800-0AC3-87790CA7F766}"/>
          </ac:spMkLst>
        </pc:spChg>
      </pc:sldChg>
      <pc:sldChg chg="addSp delSp modSp add mod">
        <pc:chgData name="Scott Sink" userId="007532c1-63dd-4f29-9932-df3a9735f490" providerId="ADAL" clId="{9E3C8D41-9167-4835-BE54-6D463ECD2610}" dt="2023-04-18T04:47:34.798" v="6670" actId="403"/>
        <pc:sldMkLst>
          <pc:docMk/>
          <pc:sldMk cId="1357997351" sldId="3626"/>
        </pc:sldMkLst>
        <pc:spChg chg="mod">
          <ac:chgData name="Scott Sink" userId="007532c1-63dd-4f29-9932-df3a9735f490" providerId="ADAL" clId="{9E3C8D41-9167-4835-BE54-6D463ECD2610}" dt="2023-04-17T11:14:15.317" v="4871" actId="1076"/>
          <ac:spMkLst>
            <pc:docMk/>
            <pc:sldMk cId="1357997351" sldId="3626"/>
            <ac:spMk id="2" creationId="{632B48E4-BBAE-520C-32C1-3FDA85F868A1}"/>
          </ac:spMkLst>
        </pc:spChg>
        <pc:spChg chg="add mod">
          <ac:chgData name="Scott Sink" userId="007532c1-63dd-4f29-9932-df3a9735f490" providerId="ADAL" clId="{9E3C8D41-9167-4835-BE54-6D463ECD2610}" dt="2023-04-18T04:47:34.798" v="6670" actId="403"/>
          <ac:spMkLst>
            <pc:docMk/>
            <pc:sldMk cId="1357997351" sldId="3626"/>
            <ac:spMk id="5" creationId="{D018112C-FC75-CAE0-AC7C-0E6218148891}"/>
          </ac:spMkLst>
        </pc:spChg>
        <pc:spChg chg="mod">
          <ac:chgData name="Scott Sink" userId="007532c1-63dd-4f29-9932-df3a9735f490" providerId="ADAL" clId="{9E3C8D41-9167-4835-BE54-6D463ECD2610}" dt="2023-04-18T04:46:35.226" v="6577" actId="1076"/>
          <ac:spMkLst>
            <pc:docMk/>
            <pc:sldMk cId="1357997351" sldId="3626"/>
            <ac:spMk id="11" creationId="{4CE7A314-EA89-FE08-FFF0-E0F74CBDC1E7}"/>
          </ac:spMkLst>
        </pc:spChg>
        <pc:picChg chg="add mod">
          <ac:chgData name="Scott Sink" userId="007532c1-63dd-4f29-9932-df3a9735f490" providerId="ADAL" clId="{9E3C8D41-9167-4835-BE54-6D463ECD2610}" dt="2023-04-16T10:07:49.310" v="3137" actId="1076"/>
          <ac:picMkLst>
            <pc:docMk/>
            <pc:sldMk cId="1357997351" sldId="3626"/>
            <ac:picMk id="3" creationId="{348DB231-230E-B6B6-37E7-BE0AB5898CCE}"/>
          </ac:picMkLst>
        </pc:picChg>
        <pc:picChg chg="add del mod">
          <ac:chgData name="Scott Sink" userId="007532c1-63dd-4f29-9932-df3a9735f490" providerId="ADAL" clId="{9E3C8D41-9167-4835-BE54-6D463ECD2610}" dt="2023-04-17T11:16:57.714" v="4889" actId="478"/>
          <ac:picMkLst>
            <pc:docMk/>
            <pc:sldMk cId="1357997351" sldId="3626"/>
            <ac:picMk id="6" creationId="{12896BA2-8799-2B89-BFD1-038B186F1912}"/>
          </ac:picMkLst>
        </pc:picChg>
        <pc:picChg chg="add del mod">
          <ac:chgData name="Scott Sink" userId="007532c1-63dd-4f29-9932-df3a9735f490" providerId="ADAL" clId="{9E3C8D41-9167-4835-BE54-6D463ECD2610}" dt="2023-04-17T11:20:27.691" v="4931" actId="478"/>
          <ac:picMkLst>
            <pc:docMk/>
            <pc:sldMk cId="1357997351" sldId="3626"/>
            <ac:picMk id="8" creationId="{DA03CDA4-3B12-141C-E704-923B5E53A594}"/>
          </ac:picMkLst>
        </pc:picChg>
      </pc:sldChg>
      <pc:sldChg chg="add">
        <pc:chgData name="Scott Sink" userId="007532c1-63dd-4f29-9932-df3a9735f490" providerId="ADAL" clId="{9E3C8D41-9167-4835-BE54-6D463ECD2610}" dt="2023-04-16T09:53:41.562" v="2867"/>
        <pc:sldMkLst>
          <pc:docMk/>
          <pc:sldMk cId="3912324480" sldId="3627"/>
        </pc:sldMkLst>
      </pc:sldChg>
      <pc:sldChg chg="add">
        <pc:chgData name="Scott Sink" userId="007532c1-63dd-4f29-9932-df3a9735f490" providerId="ADAL" clId="{9E3C8D41-9167-4835-BE54-6D463ECD2610}" dt="2023-04-16T09:53:47.127" v="2869"/>
        <pc:sldMkLst>
          <pc:docMk/>
          <pc:sldMk cId="1123099622" sldId="3628"/>
        </pc:sldMkLst>
      </pc:sldChg>
      <pc:sldChg chg="add">
        <pc:chgData name="Scott Sink" userId="007532c1-63dd-4f29-9932-df3a9735f490" providerId="ADAL" clId="{9E3C8D41-9167-4835-BE54-6D463ECD2610}" dt="2023-04-16T09:53:52.293" v="2871"/>
        <pc:sldMkLst>
          <pc:docMk/>
          <pc:sldMk cId="168551946" sldId="3629"/>
        </pc:sldMkLst>
      </pc:sldChg>
      <pc:sldChg chg="add">
        <pc:chgData name="Scott Sink" userId="007532c1-63dd-4f29-9932-df3a9735f490" providerId="ADAL" clId="{9E3C8D41-9167-4835-BE54-6D463ECD2610}" dt="2023-04-16T09:53:56.127" v="2873"/>
        <pc:sldMkLst>
          <pc:docMk/>
          <pc:sldMk cId="2387595628" sldId="3630"/>
        </pc:sldMkLst>
      </pc:sldChg>
      <pc:sldChg chg="addSp delSp modSp new mod ord">
        <pc:chgData name="Scott Sink" userId="007532c1-63dd-4f29-9932-df3a9735f490" providerId="ADAL" clId="{9E3C8D41-9167-4835-BE54-6D463ECD2610}" dt="2023-04-17T11:21:12.515" v="4941"/>
        <pc:sldMkLst>
          <pc:docMk/>
          <pc:sldMk cId="628219299" sldId="3631"/>
        </pc:sldMkLst>
        <pc:spChg chg="mod">
          <ac:chgData name="Scott Sink" userId="007532c1-63dd-4f29-9932-df3a9735f490" providerId="ADAL" clId="{9E3C8D41-9167-4835-BE54-6D463ECD2610}" dt="2023-04-16T10:02:51.926" v="3032" actId="20577"/>
          <ac:spMkLst>
            <pc:docMk/>
            <pc:sldMk cId="628219299" sldId="3631"/>
            <ac:spMk id="2" creationId="{306AEBD1-4C47-9A3E-7054-388EAA7773C5}"/>
          </ac:spMkLst>
        </pc:spChg>
        <pc:spChg chg="del">
          <ac:chgData name="Scott Sink" userId="007532c1-63dd-4f29-9932-df3a9735f490" providerId="ADAL" clId="{9E3C8D41-9167-4835-BE54-6D463ECD2610}" dt="2023-04-16T10:01:32.453" v="2878" actId="931"/>
          <ac:spMkLst>
            <pc:docMk/>
            <pc:sldMk cId="628219299" sldId="3631"/>
            <ac:spMk id="3" creationId="{528AF6A8-7E95-FF07-A416-658DDF61A4A8}"/>
          </ac:spMkLst>
        </pc:spChg>
        <pc:picChg chg="add mod">
          <ac:chgData name="Scott Sink" userId="007532c1-63dd-4f29-9932-df3a9735f490" providerId="ADAL" clId="{9E3C8D41-9167-4835-BE54-6D463ECD2610}" dt="2023-04-16T10:01:38.893" v="2883" actId="1076"/>
          <ac:picMkLst>
            <pc:docMk/>
            <pc:sldMk cId="628219299" sldId="3631"/>
            <ac:picMk id="6" creationId="{5A62B356-8005-D495-27D3-820261C5A2DD}"/>
          </ac:picMkLst>
        </pc:picChg>
      </pc:sldChg>
      <pc:sldChg chg="add del">
        <pc:chgData name="Scott Sink" userId="007532c1-63dd-4f29-9932-df3a9735f490" providerId="ADAL" clId="{9E3C8D41-9167-4835-BE54-6D463ECD2610}" dt="2023-04-16T09:54:07.966" v="2876" actId="47"/>
        <pc:sldMkLst>
          <pc:docMk/>
          <pc:sldMk cId="1897555989" sldId="3631"/>
        </pc:sldMkLst>
      </pc:sldChg>
      <pc:sldChg chg="addSp delSp modSp new mod">
        <pc:chgData name="Scott Sink" userId="007532c1-63dd-4f29-9932-df3a9735f490" providerId="ADAL" clId="{9E3C8D41-9167-4835-BE54-6D463ECD2610}" dt="2023-04-16T10:06:04.955" v="3117" actId="1076"/>
        <pc:sldMkLst>
          <pc:docMk/>
          <pc:sldMk cId="1814918814" sldId="3632"/>
        </pc:sldMkLst>
        <pc:spChg chg="mod">
          <ac:chgData name="Scott Sink" userId="007532c1-63dd-4f29-9932-df3a9735f490" providerId="ADAL" clId="{9E3C8D41-9167-4835-BE54-6D463ECD2610}" dt="2023-04-16T10:05:56.567" v="3116" actId="1076"/>
          <ac:spMkLst>
            <pc:docMk/>
            <pc:sldMk cId="1814918814" sldId="3632"/>
            <ac:spMk id="2" creationId="{43472B78-63B9-F16F-5B65-F69F221DC4D9}"/>
          </ac:spMkLst>
        </pc:spChg>
        <pc:spChg chg="del">
          <ac:chgData name="Scott Sink" userId="007532c1-63dd-4f29-9932-df3a9735f490" providerId="ADAL" clId="{9E3C8D41-9167-4835-BE54-6D463ECD2610}" dt="2023-04-16T10:04:45.700" v="3035" actId="931"/>
          <ac:spMkLst>
            <pc:docMk/>
            <pc:sldMk cId="1814918814" sldId="3632"/>
            <ac:spMk id="3" creationId="{0E8D0C03-E830-4DB3-F364-33E30354CABA}"/>
          </ac:spMkLst>
        </pc:spChg>
        <pc:spChg chg="mod">
          <ac:chgData name="Scott Sink" userId="007532c1-63dd-4f29-9932-df3a9735f490" providerId="ADAL" clId="{9E3C8D41-9167-4835-BE54-6D463ECD2610}" dt="2023-04-16T10:06:04.955" v="3117" actId="1076"/>
          <ac:spMkLst>
            <pc:docMk/>
            <pc:sldMk cId="1814918814" sldId="3632"/>
            <ac:spMk id="4" creationId="{0DE62838-40FF-5002-0FAA-75150849EDCA}"/>
          </ac:spMkLst>
        </pc:spChg>
        <pc:picChg chg="add mod">
          <ac:chgData name="Scott Sink" userId="007532c1-63dd-4f29-9932-df3a9735f490" providerId="ADAL" clId="{9E3C8D41-9167-4835-BE54-6D463ECD2610}" dt="2023-04-16T10:05:12.343" v="3047" actId="14100"/>
          <ac:picMkLst>
            <pc:docMk/>
            <pc:sldMk cId="1814918814" sldId="3632"/>
            <ac:picMk id="6" creationId="{00EED362-132B-7956-0C8F-5B859E113A43}"/>
          </ac:picMkLst>
        </pc:picChg>
      </pc:sldChg>
      <pc:sldChg chg="add del ord">
        <pc:chgData name="Scott Sink" userId="007532c1-63dd-4f29-9932-df3a9735f490" providerId="ADAL" clId="{9E3C8D41-9167-4835-BE54-6D463ECD2610}" dt="2023-04-17T11:56:19.259" v="5989" actId="47"/>
        <pc:sldMkLst>
          <pc:docMk/>
          <pc:sldMk cId="1509910316" sldId="3633"/>
        </pc:sldMkLst>
      </pc:sldChg>
      <pc:sldChg chg="addSp delSp modSp new del">
        <pc:chgData name="Scott Sink" userId="007532c1-63dd-4f29-9932-df3a9735f490" providerId="ADAL" clId="{9E3C8D41-9167-4835-BE54-6D463ECD2610}" dt="2023-04-16T10:13:31.407" v="3254" actId="47"/>
        <pc:sldMkLst>
          <pc:docMk/>
          <pc:sldMk cId="1857302169" sldId="3633"/>
        </pc:sldMkLst>
        <pc:spChg chg="del">
          <ac:chgData name="Scott Sink" userId="007532c1-63dd-4f29-9932-df3a9735f490" providerId="ADAL" clId="{9E3C8D41-9167-4835-BE54-6D463ECD2610}" dt="2023-04-16T10:10:18.317" v="3225" actId="931"/>
          <ac:spMkLst>
            <pc:docMk/>
            <pc:sldMk cId="1857302169" sldId="3633"/>
            <ac:spMk id="3" creationId="{5588FB90-8FE7-777C-4D8C-C49942458EDA}"/>
          </ac:spMkLst>
        </pc:spChg>
        <pc:spChg chg="add mod">
          <ac:chgData name="Scott Sink" userId="007532c1-63dd-4f29-9932-df3a9735f490" providerId="ADAL" clId="{9E3C8D41-9167-4835-BE54-6D463ECD2610}" dt="2023-04-16T10:10:24.156" v="3229" actId="21"/>
          <ac:spMkLst>
            <pc:docMk/>
            <pc:sldMk cId="1857302169" sldId="3633"/>
            <ac:spMk id="6" creationId="{EF8587B0-A5AE-2D55-24B2-372F68003642}"/>
          </ac:spMkLst>
        </pc:spChg>
        <pc:picChg chg="add del mod">
          <ac:chgData name="Scott Sink" userId="007532c1-63dd-4f29-9932-df3a9735f490" providerId="ADAL" clId="{9E3C8D41-9167-4835-BE54-6D463ECD2610}" dt="2023-04-16T10:10:24.156" v="3229" actId="21"/>
          <ac:picMkLst>
            <pc:docMk/>
            <pc:sldMk cId="1857302169" sldId="3633"/>
            <ac:picMk id="5" creationId="{05E31C9F-6858-CA42-1F82-C0C09F596215}"/>
          </ac:picMkLst>
        </pc:picChg>
      </pc:sldChg>
      <pc:sldChg chg="addSp modSp add">
        <pc:chgData name="Scott Sink" userId="007532c1-63dd-4f29-9932-df3a9735f490" providerId="ADAL" clId="{9E3C8D41-9167-4835-BE54-6D463ECD2610}" dt="2023-04-16T12:36:59.606" v="3922"/>
        <pc:sldMkLst>
          <pc:docMk/>
          <pc:sldMk cId="584441069" sldId="3634"/>
        </pc:sldMkLst>
        <pc:picChg chg="add mod">
          <ac:chgData name="Scott Sink" userId="007532c1-63dd-4f29-9932-df3a9735f490" providerId="ADAL" clId="{9E3C8D41-9167-4835-BE54-6D463ECD2610}" dt="2023-04-16T12:36:59.606" v="3922"/>
          <ac:picMkLst>
            <pc:docMk/>
            <pc:sldMk cId="584441069" sldId="3634"/>
            <ac:picMk id="3" creationId="{A94A2FE1-F46F-C272-7EE5-713958222923}"/>
          </ac:picMkLst>
        </pc:picChg>
      </pc:sldChg>
      <pc:sldChg chg="addSp modSp add">
        <pc:chgData name="Scott Sink" userId="007532c1-63dd-4f29-9932-df3a9735f490" providerId="ADAL" clId="{9E3C8D41-9167-4835-BE54-6D463ECD2610}" dt="2023-04-16T12:37:05.631" v="3923"/>
        <pc:sldMkLst>
          <pc:docMk/>
          <pc:sldMk cId="2340664371" sldId="3635"/>
        </pc:sldMkLst>
        <pc:picChg chg="add mod">
          <ac:chgData name="Scott Sink" userId="007532c1-63dd-4f29-9932-df3a9735f490" providerId="ADAL" clId="{9E3C8D41-9167-4835-BE54-6D463ECD2610}" dt="2023-04-16T12:37:05.631" v="3923"/>
          <ac:picMkLst>
            <pc:docMk/>
            <pc:sldMk cId="2340664371" sldId="3635"/>
            <ac:picMk id="2" creationId="{CED74A7E-6020-5426-52AA-B9A31095AB90}"/>
          </ac:picMkLst>
        </pc:picChg>
      </pc:sldChg>
      <pc:sldChg chg="add">
        <pc:chgData name="Scott Sink" userId="007532c1-63dd-4f29-9932-df3a9735f490" providerId="ADAL" clId="{9E3C8D41-9167-4835-BE54-6D463ECD2610}" dt="2023-04-16T10:25:52.027" v="3399"/>
        <pc:sldMkLst>
          <pc:docMk/>
          <pc:sldMk cId="3953636968" sldId="3636"/>
        </pc:sldMkLst>
      </pc:sldChg>
      <pc:sldChg chg="add">
        <pc:chgData name="Scott Sink" userId="007532c1-63dd-4f29-9932-df3a9735f490" providerId="ADAL" clId="{9E3C8D41-9167-4835-BE54-6D463ECD2610}" dt="2023-04-16T10:25:54.065" v="3401"/>
        <pc:sldMkLst>
          <pc:docMk/>
          <pc:sldMk cId="4241288852" sldId="3637"/>
        </pc:sldMkLst>
      </pc:sldChg>
      <pc:sldChg chg="addSp delSp modSp add mod ord">
        <pc:chgData name="Scott Sink" userId="007532c1-63dd-4f29-9932-df3a9735f490" providerId="ADAL" clId="{9E3C8D41-9167-4835-BE54-6D463ECD2610}" dt="2023-04-18T04:58:56.192" v="7010"/>
        <pc:sldMkLst>
          <pc:docMk/>
          <pc:sldMk cId="346339292" sldId="3638"/>
        </pc:sldMkLst>
        <pc:spChg chg="mod">
          <ac:chgData name="Scott Sink" userId="007532c1-63dd-4f29-9932-df3a9735f490" providerId="ADAL" clId="{9E3C8D41-9167-4835-BE54-6D463ECD2610}" dt="2023-04-16T10:29:15.244" v="3472" actId="20577"/>
          <ac:spMkLst>
            <pc:docMk/>
            <pc:sldMk cId="346339292" sldId="3638"/>
            <ac:spMk id="2" creationId="{E211C6D2-E137-A675-E129-1B7CA1893BC6}"/>
          </ac:spMkLst>
        </pc:spChg>
        <pc:spChg chg="mod">
          <ac:chgData name="Scott Sink" userId="007532c1-63dd-4f29-9932-df3a9735f490" providerId="ADAL" clId="{9E3C8D41-9167-4835-BE54-6D463ECD2610}" dt="2023-04-16T10:37:11.981" v="3718" actId="1076"/>
          <ac:spMkLst>
            <pc:docMk/>
            <pc:sldMk cId="346339292" sldId="3638"/>
            <ac:spMk id="3" creationId="{6D76E1CA-0434-A800-0AC3-87790CA7F766}"/>
          </ac:spMkLst>
        </pc:spChg>
        <pc:picChg chg="del">
          <ac:chgData name="Scott Sink" userId="007532c1-63dd-4f29-9932-df3a9735f490" providerId="ADAL" clId="{9E3C8D41-9167-4835-BE54-6D463ECD2610}" dt="2023-04-16T10:32:06.810" v="3653" actId="478"/>
          <ac:picMkLst>
            <pc:docMk/>
            <pc:sldMk cId="346339292" sldId="3638"/>
            <ac:picMk id="6" creationId="{6F11B3E2-F3B2-9042-F2E4-6A6761867775}"/>
          </ac:picMkLst>
        </pc:picChg>
        <pc:picChg chg="del">
          <ac:chgData name="Scott Sink" userId="007532c1-63dd-4f29-9932-df3a9735f490" providerId="ADAL" clId="{9E3C8D41-9167-4835-BE54-6D463ECD2610}" dt="2023-04-16T10:32:04.677" v="3651" actId="478"/>
          <ac:picMkLst>
            <pc:docMk/>
            <pc:sldMk cId="346339292" sldId="3638"/>
            <ac:picMk id="7" creationId="{F57656F3-46A4-792F-4B06-6A2AF7CB9CD7}"/>
          </ac:picMkLst>
        </pc:picChg>
        <pc:picChg chg="del">
          <ac:chgData name="Scott Sink" userId="007532c1-63dd-4f29-9932-df3a9735f490" providerId="ADAL" clId="{9E3C8D41-9167-4835-BE54-6D463ECD2610}" dt="2023-04-16T10:32:06.027" v="3652" actId="478"/>
          <ac:picMkLst>
            <pc:docMk/>
            <pc:sldMk cId="346339292" sldId="3638"/>
            <ac:picMk id="8" creationId="{CD2C4AC9-BBC6-BDC9-4E31-61BD19601D4F}"/>
          </ac:picMkLst>
        </pc:picChg>
        <pc:picChg chg="add mod">
          <ac:chgData name="Scott Sink" userId="007532c1-63dd-4f29-9932-df3a9735f490" providerId="ADAL" clId="{9E3C8D41-9167-4835-BE54-6D463ECD2610}" dt="2023-04-16T10:32:35.693" v="3660" actId="1076"/>
          <ac:picMkLst>
            <pc:docMk/>
            <pc:sldMk cId="346339292" sldId="3638"/>
            <ac:picMk id="9" creationId="{F54D54FC-64A7-A533-E11D-56B92797EBC1}"/>
          </ac:picMkLst>
        </pc:picChg>
        <pc:picChg chg="del">
          <ac:chgData name="Scott Sink" userId="007532c1-63dd-4f29-9932-df3a9735f490" providerId="ADAL" clId="{9E3C8D41-9167-4835-BE54-6D463ECD2610}" dt="2023-04-16T10:32:08.845" v="3656" actId="478"/>
          <ac:picMkLst>
            <pc:docMk/>
            <pc:sldMk cId="346339292" sldId="3638"/>
            <ac:picMk id="10" creationId="{7C0FB243-5006-ABB8-DF8C-12D874BC486B}"/>
          </ac:picMkLst>
        </pc:picChg>
        <pc:picChg chg="del">
          <ac:chgData name="Scott Sink" userId="007532c1-63dd-4f29-9932-df3a9735f490" providerId="ADAL" clId="{9E3C8D41-9167-4835-BE54-6D463ECD2610}" dt="2023-04-16T10:32:07.579" v="3654" actId="478"/>
          <ac:picMkLst>
            <pc:docMk/>
            <pc:sldMk cId="346339292" sldId="3638"/>
            <ac:picMk id="11" creationId="{672CB1E1-8334-DDC9-E40A-004CDE1E9A75}"/>
          </ac:picMkLst>
        </pc:picChg>
        <pc:picChg chg="mod">
          <ac:chgData name="Scott Sink" userId="007532c1-63dd-4f29-9932-df3a9735f490" providerId="ADAL" clId="{9E3C8D41-9167-4835-BE54-6D463ECD2610}" dt="2023-04-16T10:36:56.993" v="3717" actId="1076"/>
          <ac:picMkLst>
            <pc:docMk/>
            <pc:sldMk cId="346339292" sldId="3638"/>
            <ac:picMk id="12" creationId="{BFD5A692-5DF4-0713-DE4F-1FE34437AA44}"/>
          </ac:picMkLst>
        </pc:picChg>
        <pc:picChg chg="add mod">
          <ac:chgData name="Scott Sink" userId="007532c1-63dd-4f29-9932-df3a9735f490" providerId="ADAL" clId="{9E3C8D41-9167-4835-BE54-6D463ECD2610}" dt="2023-04-16T10:32:45.247" v="3662" actId="1076"/>
          <ac:picMkLst>
            <pc:docMk/>
            <pc:sldMk cId="346339292" sldId="3638"/>
            <ac:picMk id="13" creationId="{BF81B193-A4F9-D260-4078-1770781FE68F}"/>
          </ac:picMkLst>
        </pc:picChg>
        <pc:picChg chg="del">
          <ac:chgData name="Scott Sink" userId="007532c1-63dd-4f29-9932-df3a9735f490" providerId="ADAL" clId="{9E3C8D41-9167-4835-BE54-6D463ECD2610}" dt="2023-04-16T10:32:08.276" v="3655" actId="478"/>
          <ac:picMkLst>
            <pc:docMk/>
            <pc:sldMk cId="346339292" sldId="3638"/>
            <ac:picMk id="14" creationId="{EF8736A0-B65F-BA5E-637C-02B2640DC18B}"/>
          </ac:picMkLst>
        </pc:picChg>
        <pc:picChg chg="add mod">
          <ac:chgData name="Scott Sink" userId="007532c1-63dd-4f29-9932-df3a9735f490" providerId="ADAL" clId="{9E3C8D41-9167-4835-BE54-6D463ECD2610}" dt="2023-04-17T13:45:27.739" v="6347" actId="1076"/>
          <ac:picMkLst>
            <pc:docMk/>
            <pc:sldMk cId="346339292" sldId="3638"/>
            <ac:picMk id="15" creationId="{754175FF-9353-8C13-3385-24D2BAEF0C15}"/>
          </ac:picMkLst>
        </pc:picChg>
        <pc:picChg chg="del">
          <ac:chgData name="Scott Sink" userId="007532c1-63dd-4f29-9932-df3a9735f490" providerId="ADAL" clId="{9E3C8D41-9167-4835-BE54-6D463ECD2610}" dt="2023-04-16T10:32:51.177" v="3664" actId="478"/>
          <ac:picMkLst>
            <pc:docMk/>
            <pc:sldMk cId="346339292" sldId="3638"/>
            <ac:picMk id="16" creationId="{FEB273B6-A634-C40F-A407-EE35ABB135EF}"/>
          </ac:picMkLst>
        </pc:picChg>
        <pc:picChg chg="add mod">
          <ac:chgData name="Scott Sink" userId="007532c1-63dd-4f29-9932-df3a9735f490" providerId="ADAL" clId="{9E3C8D41-9167-4835-BE54-6D463ECD2610}" dt="2023-04-17T13:45:30.476" v="6348" actId="1076"/>
          <ac:picMkLst>
            <pc:docMk/>
            <pc:sldMk cId="346339292" sldId="3638"/>
            <ac:picMk id="17" creationId="{CA111C13-FA8A-D936-FEBD-E89B84FE8B5A}"/>
          </ac:picMkLst>
        </pc:picChg>
        <pc:picChg chg="add mod">
          <ac:chgData name="Scott Sink" userId="007532c1-63dd-4f29-9932-df3a9735f490" providerId="ADAL" clId="{9E3C8D41-9167-4835-BE54-6D463ECD2610}" dt="2023-04-17T13:45:34.559" v="6349" actId="1076"/>
          <ac:picMkLst>
            <pc:docMk/>
            <pc:sldMk cId="346339292" sldId="3638"/>
            <ac:picMk id="19" creationId="{7734BF96-30CB-5124-214E-53BFE9629FDC}"/>
          </ac:picMkLst>
        </pc:picChg>
        <pc:picChg chg="add mod">
          <ac:chgData name="Scott Sink" userId="007532c1-63dd-4f29-9932-df3a9735f490" providerId="ADAL" clId="{9E3C8D41-9167-4835-BE54-6D463ECD2610}" dt="2023-04-17T13:45:37.181" v="6350" actId="1076"/>
          <ac:picMkLst>
            <pc:docMk/>
            <pc:sldMk cId="346339292" sldId="3638"/>
            <ac:picMk id="21" creationId="{1AA9785F-0FEA-61FE-92A8-512F8AD3941C}"/>
          </ac:picMkLst>
        </pc:picChg>
        <pc:picChg chg="add mod">
          <ac:chgData name="Scott Sink" userId="007532c1-63dd-4f29-9932-df3a9735f490" providerId="ADAL" clId="{9E3C8D41-9167-4835-BE54-6D463ECD2610}" dt="2023-04-17T13:45:39.277" v="6351" actId="1076"/>
          <ac:picMkLst>
            <pc:docMk/>
            <pc:sldMk cId="346339292" sldId="3638"/>
            <ac:picMk id="23" creationId="{6D7DFD48-868A-4EE8-8D3E-CB51A9292BBC}"/>
          </ac:picMkLst>
        </pc:picChg>
      </pc:sldChg>
      <pc:sldChg chg="addSp delSp modSp add del mod ord">
        <pc:chgData name="Scott Sink" userId="007532c1-63dd-4f29-9932-df3a9735f490" providerId="ADAL" clId="{9E3C8D41-9167-4835-BE54-6D463ECD2610}" dt="2023-04-18T10:15:09.369" v="7475" actId="47"/>
        <pc:sldMkLst>
          <pc:docMk/>
          <pc:sldMk cId="2707107348" sldId="3639"/>
        </pc:sldMkLst>
        <pc:spChg chg="del">
          <ac:chgData name="Scott Sink" userId="007532c1-63dd-4f29-9932-df3a9735f490" providerId="ADAL" clId="{9E3C8D41-9167-4835-BE54-6D463ECD2610}" dt="2023-04-17T12:08:35.107" v="6233" actId="478"/>
          <ac:spMkLst>
            <pc:docMk/>
            <pc:sldMk cId="2707107348" sldId="3639"/>
            <ac:spMk id="5" creationId="{BD119F5D-19E2-ECEF-100F-32C90BA4E4C8}"/>
          </ac:spMkLst>
        </pc:spChg>
        <pc:spChg chg="mod">
          <ac:chgData name="Scott Sink" userId="007532c1-63dd-4f29-9932-df3a9735f490" providerId="ADAL" clId="{9E3C8D41-9167-4835-BE54-6D463ECD2610}" dt="2023-04-16T10:28:10.227" v="3414" actId="1076"/>
          <ac:spMkLst>
            <pc:docMk/>
            <pc:sldMk cId="2707107348" sldId="3639"/>
            <ac:spMk id="6" creationId="{F5FA34A8-ECC0-FEC2-79F6-0A4B213195AE}"/>
          </ac:spMkLst>
        </pc:spChg>
        <pc:spChg chg="add mod">
          <ac:chgData name="Scott Sink" userId="007532c1-63dd-4f29-9932-df3a9735f490" providerId="ADAL" clId="{9E3C8D41-9167-4835-BE54-6D463ECD2610}" dt="2023-04-17T12:08:36.554" v="6234"/>
          <ac:spMkLst>
            <pc:docMk/>
            <pc:sldMk cId="2707107348" sldId="3639"/>
            <ac:spMk id="7" creationId="{186A3E25-9554-FBD3-1C26-4C6962E5FCA6}"/>
          </ac:spMkLst>
        </pc:spChg>
      </pc:sldChg>
      <pc:sldChg chg="addSp delSp modSp add del mod ord">
        <pc:chgData name="Scott Sink" userId="007532c1-63dd-4f29-9932-df3a9735f490" providerId="ADAL" clId="{9E3C8D41-9167-4835-BE54-6D463ECD2610}" dt="2023-04-18T10:15:28.442" v="7482" actId="47"/>
        <pc:sldMkLst>
          <pc:docMk/>
          <pc:sldMk cId="1199111468" sldId="3640"/>
        </pc:sldMkLst>
        <pc:spChg chg="del">
          <ac:chgData name="Scott Sink" userId="007532c1-63dd-4f29-9932-df3a9735f490" providerId="ADAL" clId="{9E3C8D41-9167-4835-BE54-6D463ECD2610}" dt="2023-04-17T12:08:48.915" v="6235" actId="478"/>
          <ac:spMkLst>
            <pc:docMk/>
            <pc:sldMk cId="1199111468" sldId="3640"/>
            <ac:spMk id="5" creationId="{BD119F5D-19E2-ECEF-100F-32C90BA4E4C8}"/>
          </ac:spMkLst>
        </pc:spChg>
        <pc:spChg chg="mod">
          <ac:chgData name="Scott Sink" userId="007532c1-63dd-4f29-9932-df3a9735f490" providerId="ADAL" clId="{9E3C8D41-9167-4835-BE54-6D463ECD2610}" dt="2023-04-16T10:28:50.110" v="3419" actId="1076"/>
          <ac:spMkLst>
            <pc:docMk/>
            <pc:sldMk cId="1199111468" sldId="3640"/>
            <ac:spMk id="6" creationId="{F5FA34A8-ECC0-FEC2-79F6-0A4B213195AE}"/>
          </ac:spMkLst>
        </pc:spChg>
        <pc:spChg chg="add mod">
          <ac:chgData name="Scott Sink" userId="007532c1-63dd-4f29-9932-df3a9735f490" providerId="ADAL" clId="{9E3C8D41-9167-4835-BE54-6D463ECD2610}" dt="2023-04-17T12:08:50.442" v="6236"/>
          <ac:spMkLst>
            <pc:docMk/>
            <pc:sldMk cId="1199111468" sldId="3640"/>
            <ac:spMk id="7" creationId="{8B905A93-A3E8-9B37-BB84-D17427C039E9}"/>
          </ac:spMkLst>
        </pc:spChg>
      </pc:sldChg>
      <pc:sldChg chg="add ord">
        <pc:chgData name="Scott Sink" userId="007532c1-63dd-4f29-9932-df3a9735f490" providerId="ADAL" clId="{9E3C8D41-9167-4835-BE54-6D463ECD2610}" dt="2023-04-16T12:25:08.460" v="3728"/>
        <pc:sldMkLst>
          <pc:docMk/>
          <pc:sldMk cId="2295474388" sldId="3641"/>
        </pc:sldMkLst>
      </pc:sldChg>
      <pc:sldChg chg="add del">
        <pc:chgData name="Scott Sink" userId="007532c1-63dd-4f29-9932-df3a9735f490" providerId="ADAL" clId="{9E3C8D41-9167-4835-BE54-6D463ECD2610}" dt="2023-04-16T12:23:52.694" v="3721" actId="27028"/>
        <pc:sldMkLst>
          <pc:docMk/>
          <pc:sldMk cId="2785095684" sldId="3641"/>
        </pc:sldMkLst>
      </pc:sldChg>
      <pc:sldChg chg="add del">
        <pc:chgData name="Scott Sink" userId="007532c1-63dd-4f29-9932-df3a9735f490" providerId="ADAL" clId="{9E3C8D41-9167-4835-BE54-6D463ECD2610}" dt="2023-04-16T12:24:40.310" v="3726" actId="27028"/>
        <pc:sldMkLst>
          <pc:docMk/>
          <pc:sldMk cId="758789041" sldId="3642"/>
        </pc:sldMkLst>
      </pc:sldChg>
      <pc:sldChg chg="addSp delSp modSp add mod ord">
        <pc:chgData name="Scott Sink" userId="007532c1-63dd-4f29-9932-df3a9735f490" providerId="ADAL" clId="{9E3C8D41-9167-4835-BE54-6D463ECD2610}" dt="2023-04-18T04:51:30.781" v="6849"/>
        <pc:sldMkLst>
          <pc:docMk/>
          <pc:sldMk cId="1397055606" sldId="3642"/>
        </pc:sldMkLst>
        <pc:spChg chg="mod">
          <ac:chgData name="Scott Sink" userId="007532c1-63dd-4f29-9932-df3a9735f490" providerId="ADAL" clId="{9E3C8D41-9167-4835-BE54-6D463ECD2610}" dt="2023-04-16T12:32:42.422" v="3778" actId="14100"/>
          <ac:spMkLst>
            <pc:docMk/>
            <pc:sldMk cId="1397055606" sldId="3642"/>
            <ac:spMk id="2" creationId="{9A3A1A8B-27BF-538A-AE46-03936D172E6D}"/>
          </ac:spMkLst>
        </pc:spChg>
        <pc:spChg chg="mod">
          <ac:chgData name="Scott Sink" userId="007532c1-63dd-4f29-9932-df3a9735f490" providerId="ADAL" clId="{9E3C8D41-9167-4835-BE54-6D463ECD2610}" dt="2023-04-17T11:37:09.818" v="5002" actId="20577"/>
          <ac:spMkLst>
            <pc:docMk/>
            <pc:sldMk cId="1397055606" sldId="3642"/>
            <ac:spMk id="4" creationId="{F890E94B-3FC1-3939-775E-B6AC4F3C7C07}"/>
          </ac:spMkLst>
        </pc:spChg>
        <pc:spChg chg="del">
          <ac:chgData name="Scott Sink" userId="007532c1-63dd-4f29-9932-df3a9735f490" providerId="ADAL" clId="{9E3C8D41-9167-4835-BE54-6D463ECD2610}" dt="2023-04-16T12:27:48.744" v="3738" actId="478"/>
          <ac:spMkLst>
            <pc:docMk/>
            <pc:sldMk cId="1397055606" sldId="3642"/>
            <ac:spMk id="8" creationId="{F34AF09B-524E-6E35-47EF-2470E32598AB}"/>
          </ac:spMkLst>
        </pc:spChg>
        <pc:spChg chg="del">
          <ac:chgData name="Scott Sink" userId="007532c1-63dd-4f29-9932-df3a9735f490" providerId="ADAL" clId="{9E3C8D41-9167-4835-BE54-6D463ECD2610}" dt="2023-04-16T12:27:47.248" v="3736" actId="478"/>
          <ac:spMkLst>
            <pc:docMk/>
            <pc:sldMk cId="1397055606" sldId="3642"/>
            <ac:spMk id="9" creationId="{926FB801-CD90-7F98-0CA5-E19FB15D5DE5}"/>
          </ac:spMkLst>
        </pc:spChg>
        <pc:spChg chg="del">
          <ac:chgData name="Scott Sink" userId="007532c1-63dd-4f29-9932-df3a9735f490" providerId="ADAL" clId="{9E3C8D41-9167-4835-BE54-6D463ECD2610}" dt="2023-04-16T12:28:08.191" v="3744" actId="478"/>
          <ac:spMkLst>
            <pc:docMk/>
            <pc:sldMk cId="1397055606" sldId="3642"/>
            <ac:spMk id="10" creationId="{0887097B-0A23-77C0-7777-77C31A2320CC}"/>
          </ac:spMkLst>
        </pc:spChg>
        <pc:spChg chg="del mod">
          <ac:chgData name="Scott Sink" userId="007532c1-63dd-4f29-9932-df3a9735f490" providerId="ADAL" clId="{9E3C8D41-9167-4835-BE54-6D463ECD2610}" dt="2023-04-16T12:30:35.786" v="3762" actId="478"/>
          <ac:spMkLst>
            <pc:docMk/>
            <pc:sldMk cId="1397055606" sldId="3642"/>
            <ac:spMk id="13" creationId="{D2C8B7B4-3F66-C491-4202-5847BB92CD56}"/>
          </ac:spMkLst>
        </pc:spChg>
        <pc:spChg chg="add mod">
          <ac:chgData name="Scott Sink" userId="007532c1-63dd-4f29-9932-df3a9735f490" providerId="ADAL" clId="{9E3C8D41-9167-4835-BE54-6D463ECD2610}" dt="2023-04-16T12:35:34.627" v="3912" actId="1076"/>
          <ac:spMkLst>
            <pc:docMk/>
            <pc:sldMk cId="1397055606" sldId="3642"/>
            <ac:spMk id="15" creationId="{E4A69D80-730C-74A6-D1A3-D43426CEBD2E}"/>
          </ac:spMkLst>
        </pc:spChg>
        <pc:spChg chg="add mod">
          <ac:chgData name="Scott Sink" userId="007532c1-63dd-4f29-9932-df3a9735f490" providerId="ADAL" clId="{9E3C8D41-9167-4835-BE54-6D463ECD2610}" dt="2023-04-16T12:35:37.318" v="3913" actId="1076"/>
          <ac:spMkLst>
            <pc:docMk/>
            <pc:sldMk cId="1397055606" sldId="3642"/>
            <ac:spMk id="16" creationId="{7667B206-BB8B-7F34-EC9A-CAAAED8D4A97}"/>
          </ac:spMkLst>
        </pc:spChg>
        <pc:picChg chg="add mod">
          <ac:chgData name="Scott Sink" userId="007532c1-63dd-4f29-9932-df3a9735f490" providerId="ADAL" clId="{9E3C8D41-9167-4835-BE54-6D463ECD2610}" dt="2023-04-16T12:33:58.278" v="3902" actId="1076"/>
          <ac:picMkLst>
            <pc:docMk/>
            <pc:sldMk cId="1397055606" sldId="3642"/>
            <ac:picMk id="6" creationId="{24B18EBD-CCB0-51CA-2AC1-E1A5080A5AA0}"/>
          </ac:picMkLst>
        </pc:picChg>
        <pc:picChg chg="del">
          <ac:chgData name="Scott Sink" userId="007532c1-63dd-4f29-9932-df3a9735f490" providerId="ADAL" clId="{9E3C8D41-9167-4835-BE54-6D463ECD2610}" dt="2023-04-16T12:27:47.929" v="3737" actId="478"/>
          <ac:picMkLst>
            <pc:docMk/>
            <pc:sldMk cId="1397055606" sldId="3642"/>
            <ac:picMk id="7" creationId="{7F83A7FA-F154-1DEF-367E-16361EC2A58B}"/>
          </ac:picMkLst>
        </pc:picChg>
        <pc:picChg chg="mod">
          <ac:chgData name="Scott Sink" userId="007532c1-63dd-4f29-9932-df3a9735f490" providerId="ADAL" clId="{9E3C8D41-9167-4835-BE54-6D463ECD2610}" dt="2023-04-16T12:35:40.888" v="3914" actId="1076"/>
          <ac:picMkLst>
            <pc:docMk/>
            <pc:sldMk cId="1397055606" sldId="3642"/>
            <ac:picMk id="12" creationId="{7C5DCDD9-7A0E-5D2C-70A8-97A8B66E702C}"/>
          </ac:picMkLst>
        </pc:picChg>
        <pc:picChg chg="add mod">
          <ac:chgData name="Scott Sink" userId="007532c1-63dd-4f29-9932-df3a9735f490" providerId="ADAL" clId="{9E3C8D41-9167-4835-BE54-6D463ECD2610}" dt="2023-04-16T12:32:48.994" v="3779" actId="1076"/>
          <ac:picMkLst>
            <pc:docMk/>
            <pc:sldMk cId="1397055606" sldId="3642"/>
            <ac:picMk id="14" creationId="{8CADF318-01A5-2FFC-4F34-36B025AA5D1C}"/>
          </ac:picMkLst>
        </pc:picChg>
        <pc:picChg chg="add mod">
          <ac:chgData name="Scott Sink" userId="007532c1-63dd-4f29-9932-df3a9735f490" providerId="ADAL" clId="{9E3C8D41-9167-4835-BE54-6D463ECD2610}" dt="2023-04-16T12:36:29.526" v="3921" actId="1076"/>
          <ac:picMkLst>
            <pc:docMk/>
            <pc:sldMk cId="1397055606" sldId="3642"/>
            <ac:picMk id="18" creationId="{76377650-C309-563A-827A-C766C95C8CA0}"/>
          </ac:picMkLst>
        </pc:picChg>
      </pc:sldChg>
      <pc:sldChg chg="addSp delSp modSp add mod ord">
        <pc:chgData name="Scott Sink" userId="007532c1-63dd-4f29-9932-df3a9735f490" providerId="ADAL" clId="{9E3C8D41-9167-4835-BE54-6D463ECD2610}" dt="2023-04-18T04:59:16.770" v="7016"/>
        <pc:sldMkLst>
          <pc:docMk/>
          <pc:sldMk cId="820912285" sldId="3643"/>
        </pc:sldMkLst>
        <pc:spChg chg="mod">
          <ac:chgData name="Scott Sink" userId="007532c1-63dd-4f29-9932-df3a9735f490" providerId="ADAL" clId="{9E3C8D41-9167-4835-BE54-6D463ECD2610}" dt="2023-04-16T12:48:18.710" v="4077" actId="20577"/>
          <ac:spMkLst>
            <pc:docMk/>
            <pc:sldMk cId="820912285" sldId="3643"/>
            <ac:spMk id="2" creationId="{9A3A1A8B-27BF-538A-AE46-03936D172E6D}"/>
          </ac:spMkLst>
        </pc:spChg>
        <pc:picChg chg="add mod">
          <ac:chgData name="Scott Sink" userId="007532c1-63dd-4f29-9932-df3a9735f490" providerId="ADAL" clId="{9E3C8D41-9167-4835-BE54-6D463ECD2610}" dt="2023-04-16T12:43:34.544" v="4014" actId="1076"/>
          <ac:picMkLst>
            <pc:docMk/>
            <pc:sldMk cId="820912285" sldId="3643"/>
            <ac:picMk id="5" creationId="{8204C545-596E-3824-65C6-A06734B7AF2A}"/>
          </ac:picMkLst>
        </pc:picChg>
        <pc:picChg chg="del">
          <ac:chgData name="Scott Sink" userId="007532c1-63dd-4f29-9932-df3a9735f490" providerId="ADAL" clId="{9E3C8D41-9167-4835-BE54-6D463ECD2610}" dt="2023-04-16T12:39:45.450" v="3987" actId="478"/>
          <ac:picMkLst>
            <pc:docMk/>
            <pc:sldMk cId="820912285" sldId="3643"/>
            <ac:picMk id="6" creationId="{24B18EBD-CCB0-51CA-2AC1-E1A5080A5AA0}"/>
          </ac:picMkLst>
        </pc:picChg>
        <pc:picChg chg="add mod">
          <ac:chgData name="Scott Sink" userId="007532c1-63dd-4f29-9932-df3a9735f490" providerId="ADAL" clId="{9E3C8D41-9167-4835-BE54-6D463ECD2610}" dt="2023-04-16T12:45:08.416" v="4026" actId="1076"/>
          <ac:picMkLst>
            <pc:docMk/>
            <pc:sldMk cId="820912285" sldId="3643"/>
            <ac:picMk id="8" creationId="{BFAEBA5D-BF04-041D-A747-8ADF6C9462FB}"/>
          </ac:picMkLst>
        </pc:picChg>
        <pc:picChg chg="add mod">
          <ac:chgData name="Scott Sink" userId="007532c1-63dd-4f29-9932-df3a9735f490" providerId="ADAL" clId="{9E3C8D41-9167-4835-BE54-6D463ECD2610}" dt="2023-04-16T12:47:49.791" v="4031" actId="1076"/>
          <ac:picMkLst>
            <pc:docMk/>
            <pc:sldMk cId="820912285" sldId="3643"/>
            <ac:picMk id="10" creationId="{FBFE9DB8-F49F-69FE-175A-11AEE494576C}"/>
          </ac:picMkLst>
        </pc:picChg>
        <pc:picChg chg="del">
          <ac:chgData name="Scott Sink" userId="007532c1-63dd-4f29-9932-df3a9735f490" providerId="ADAL" clId="{9E3C8D41-9167-4835-BE54-6D463ECD2610}" dt="2023-04-16T12:41:52.660" v="4008" actId="478"/>
          <ac:picMkLst>
            <pc:docMk/>
            <pc:sldMk cId="820912285" sldId="3643"/>
            <ac:picMk id="12" creationId="{7C5DCDD9-7A0E-5D2C-70A8-97A8B66E702C}"/>
          </ac:picMkLst>
        </pc:picChg>
        <pc:picChg chg="del">
          <ac:chgData name="Scott Sink" userId="007532c1-63dd-4f29-9932-df3a9735f490" providerId="ADAL" clId="{9E3C8D41-9167-4835-BE54-6D463ECD2610}" dt="2023-04-16T12:43:25.087" v="4011" actId="478"/>
          <ac:picMkLst>
            <pc:docMk/>
            <pc:sldMk cId="820912285" sldId="3643"/>
            <ac:picMk id="18" creationId="{76377650-C309-563A-827A-C766C95C8CA0}"/>
          </ac:picMkLst>
        </pc:picChg>
      </pc:sldChg>
      <pc:sldChg chg="modSp add del mod ord">
        <pc:chgData name="Scott Sink" userId="007532c1-63dd-4f29-9932-df3a9735f490" providerId="ADAL" clId="{9E3C8D41-9167-4835-BE54-6D463ECD2610}" dt="2023-04-18T05:39:08.959" v="7428" actId="47"/>
        <pc:sldMkLst>
          <pc:docMk/>
          <pc:sldMk cId="1327553206" sldId="3644"/>
        </pc:sldMkLst>
        <pc:spChg chg="mod">
          <ac:chgData name="Scott Sink" userId="007532c1-63dd-4f29-9932-df3a9735f490" providerId="ADAL" clId="{9E3C8D41-9167-4835-BE54-6D463ECD2610}" dt="2023-04-18T04:58:40.965" v="7004" actId="1076"/>
          <ac:spMkLst>
            <pc:docMk/>
            <pc:sldMk cId="1327553206" sldId="3644"/>
            <ac:spMk id="2" creationId="{8A0A3A2F-3CE9-2B6A-443B-5DB8A8363F2E}"/>
          </ac:spMkLst>
        </pc:spChg>
      </pc:sldChg>
      <pc:sldChg chg="delSp modSp add del mod">
        <pc:chgData name="Scott Sink" userId="007532c1-63dd-4f29-9932-df3a9735f490" providerId="ADAL" clId="{9E3C8D41-9167-4835-BE54-6D463ECD2610}" dt="2023-04-16T12:44:01.110" v="4017" actId="47"/>
        <pc:sldMkLst>
          <pc:docMk/>
          <pc:sldMk cId="2889788747" sldId="3644"/>
        </pc:sldMkLst>
        <pc:spChg chg="mod">
          <ac:chgData name="Scott Sink" userId="007532c1-63dd-4f29-9932-df3a9735f490" providerId="ADAL" clId="{9E3C8D41-9167-4835-BE54-6D463ECD2610}" dt="2023-04-16T12:40:35.594" v="3994" actId="27636"/>
          <ac:spMkLst>
            <pc:docMk/>
            <pc:sldMk cId="2889788747" sldId="3644"/>
            <ac:spMk id="2" creationId="{9A3A1A8B-27BF-538A-AE46-03936D172E6D}"/>
          </ac:spMkLst>
        </pc:spChg>
        <pc:spChg chg="mod">
          <ac:chgData name="Scott Sink" userId="007532c1-63dd-4f29-9932-df3a9735f490" providerId="ADAL" clId="{9E3C8D41-9167-4835-BE54-6D463ECD2610}" dt="2023-04-16T12:40:58.836" v="4000" actId="1076"/>
          <ac:spMkLst>
            <pc:docMk/>
            <pc:sldMk cId="2889788747" sldId="3644"/>
            <ac:spMk id="4" creationId="{F890E94B-3FC1-3939-775E-B6AC4F3C7C07}"/>
          </ac:spMkLst>
        </pc:spChg>
        <pc:spChg chg="del">
          <ac:chgData name="Scott Sink" userId="007532c1-63dd-4f29-9932-df3a9735f490" providerId="ADAL" clId="{9E3C8D41-9167-4835-BE54-6D463ECD2610}" dt="2023-04-16T12:40:42.672" v="3996" actId="478"/>
          <ac:spMkLst>
            <pc:docMk/>
            <pc:sldMk cId="2889788747" sldId="3644"/>
            <ac:spMk id="8" creationId="{F34AF09B-524E-6E35-47EF-2470E32598AB}"/>
          </ac:spMkLst>
        </pc:spChg>
        <pc:spChg chg="mod">
          <ac:chgData name="Scott Sink" userId="007532c1-63dd-4f29-9932-df3a9735f490" providerId="ADAL" clId="{9E3C8D41-9167-4835-BE54-6D463ECD2610}" dt="2023-04-16T12:40:41.727" v="3995" actId="1076"/>
          <ac:spMkLst>
            <pc:docMk/>
            <pc:sldMk cId="2889788747" sldId="3644"/>
            <ac:spMk id="9" creationId="{926FB801-CD90-7F98-0CA5-E19FB15D5DE5}"/>
          </ac:spMkLst>
        </pc:spChg>
        <pc:spChg chg="del">
          <ac:chgData name="Scott Sink" userId="007532c1-63dd-4f29-9932-df3a9735f490" providerId="ADAL" clId="{9E3C8D41-9167-4835-BE54-6D463ECD2610}" dt="2023-04-16T12:40:43.979" v="3997" actId="478"/>
          <ac:spMkLst>
            <pc:docMk/>
            <pc:sldMk cId="2889788747" sldId="3644"/>
            <ac:spMk id="10" creationId="{0887097B-0A23-77C0-7777-77C31A2320CC}"/>
          </ac:spMkLst>
        </pc:spChg>
        <pc:spChg chg="del">
          <ac:chgData name="Scott Sink" userId="007532c1-63dd-4f29-9932-df3a9735f490" providerId="ADAL" clId="{9E3C8D41-9167-4835-BE54-6D463ECD2610}" dt="2023-04-16T12:40:46.711" v="3998" actId="478"/>
          <ac:spMkLst>
            <pc:docMk/>
            <pc:sldMk cId="2889788747" sldId="3644"/>
            <ac:spMk id="13" creationId="{D2C8B7B4-3F66-C491-4202-5847BB92CD56}"/>
          </ac:spMkLst>
        </pc:spChg>
        <pc:picChg chg="del">
          <ac:chgData name="Scott Sink" userId="007532c1-63dd-4f29-9932-df3a9735f490" providerId="ADAL" clId="{9E3C8D41-9167-4835-BE54-6D463ECD2610}" dt="2023-04-16T12:41:50.422" v="4007" actId="21"/>
          <ac:picMkLst>
            <pc:docMk/>
            <pc:sldMk cId="2889788747" sldId="3644"/>
            <ac:picMk id="7" creationId="{7F83A7FA-F154-1DEF-367E-16361EC2A58B}"/>
          </ac:picMkLst>
        </pc:picChg>
        <pc:picChg chg="del">
          <ac:chgData name="Scott Sink" userId="007532c1-63dd-4f29-9932-df3a9735f490" providerId="ADAL" clId="{9E3C8D41-9167-4835-BE54-6D463ECD2610}" dt="2023-04-16T12:40:47.667" v="3999" actId="478"/>
          <ac:picMkLst>
            <pc:docMk/>
            <pc:sldMk cId="2889788747" sldId="3644"/>
            <ac:picMk id="12" creationId="{7C5DCDD9-7A0E-5D2C-70A8-97A8B66E702C}"/>
          </ac:picMkLst>
        </pc:picChg>
      </pc:sldChg>
      <pc:sldChg chg="modSp add del mod">
        <pc:chgData name="Scott Sink" userId="007532c1-63dd-4f29-9932-df3a9735f490" providerId="ADAL" clId="{9E3C8D41-9167-4835-BE54-6D463ECD2610}" dt="2023-04-18T05:39:01.717" v="7427" actId="47"/>
        <pc:sldMkLst>
          <pc:docMk/>
          <pc:sldMk cId="1161909416" sldId="3645"/>
        </pc:sldMkLst>
        <pc:spChg chg="mod">
          <ac:chgData name="Scott Sink" userId="007532c1-63dd-4f29-9932-df3a9735f490" providerId="ADAL" clId="{9E3C8D41-9167-4835-BE54-6D463ECD2610}" dt="2023-04-18T04:59:30.869" v="7017" actId="1076"/>
          <ac:spMkLst>
            <pc:docMk/>
            <pc:sldMk cId="1161909416" sldId="3645"/>
            <ac:spMk id="2" creationId="{F6395FD3-AEC9-38D5-6BCF-29CA797C1DA8}"/>
          </ac:spMkLst>
        </pc:spChg>
      </pc:sldChg>
      <pc:sldChg chg="modSp add mod ord">
        <pc:chgData name="Scott Sink" userId="007532c1-63dd-4f29-9932-df3a9735f490" providerId="ADAL" clId="{9E3C8D41-9167-4835-BE54-6D463ECD2610}" dt="2023-04-18T04:58:21.328" v="7001" actId="1076"/>
        <pc:sldMkLst>
          <pc:docMk/>
          <pc:sldMk cId="3272150657" sldId="3646"/>
        </pc:sldMkLst>
        <pc:spChg chg="mod">
          <ac:chgData name="Scott Sink" userId="007532c1-63dd-4f29-9932-df3a9735f490" providerId="ADAL" clId="{9E3C8D41-9167-4835-BE54-6D463ECD2610}" dt="2023-04-18T04:58:21.328" v="7001" actId="1076"/>
          <ac:spMkLst>
            <pc:docMk/>
            <pc:sldMk cId="3272150657" sldId="3646"/>
            <ac:spMk id="2" creationId="{307FFB44-A94F-8F15-9B33-A981E0FC333B}"/>
          </ac:spMkLst>
        </pc:spChg>
      </pc:sldChg>
      <pc:sldChg chg="add del ord">
        <pc:chgData name="Scott Sink" userId="007532c1-63dd-4f29-9932-df3a9735f490" providerId="ADAL" clId="{9E3C8D41-9167-4835-BE54-6D463ECD2610}" dt="2023-04-18T04:58:13.563" v="7000" actId="47"/>
        <pc:sldMkLst>
          <pc:docMk/>
          <pc:sldMk cId="1679376843" sldId="3647"/>
        </pc:sldMkLst>
      </pc:sldChg>
      <pc:sldChg chg="modSp add mod">
        <pc:chgData name="Scott Sink" userId="007532c1-63dd-4f29-9932-df3a9735f490" providerId="ADAL" clId="{9E3C8D41-9167-4835-BE54-6D463ECD2610}" dt="2023-04-18T04:59:52.436" v="7020" actId="1076"/>
        <pc:sldMkLst>
          <pc:docMk/>
          <pc:sldMk cId="185777116" sldId="3648"/>
        </pc:sldMkLst>
        <pc:spChg chg="mod">
          <ac:chgData name="Scott Sink" userId="007532c1-63dd-4f29-9932-df3a9735f490" providerId="ADAL" clId="{9E3C8D41-9167-4835-BE54-6D463ECD2610}" dt="2023-04-18T04:59:50.088" v="7019" actId="1076"/>
          <ac:spMkLst>
            <pc:docMk/>
            <pc:sldMk cId="185777116" sldId="3648"/>
            <ac:spMk id="9" creationId="{34020909-B335-4740-B2D4-7A86DAD00B92}"/>
          </ac:spMkLst>
        </pc:spChg>
        <pc:picChg chg="mod">
          <ac:chgData name="Scott Sink" userId="007532c1-63dd-4f29-9932-df3a9735f490" providerId="ADAL" clId="{9E3C8D41-9167-4835-BE54-6D463ECD2610}" dt="2023-04-18T04:59:52.436" v="7020" actId="1076"/>
          <ac:picMkLst>
            <pc:docMk/>
            <pc:sldMk cId="185777116" sldId="3648"/>
            <ac:picMk id="8" creationId="{37708129-4383-47E5-ADD3-E2BA2410DFC1}"/>
          </ac:picMkLst>
        </pc:picChg>
      </pc:sldChg>
      <pc:sldChg chg="add del">
        <pc:chgData name="Scott Sink" userId="007532c1-63dd-4f29-9932-df3a9735f490" providerId="ADAL" clId="{9E3C8D41-9167-4835-BE54-6D463ECD2610}" dt="2023-04-18T05:19:19.002" v="7042" actId="47"/>
        <pc:sldMkLst>
          <pc:docMk/>
          <pc:sldMk cId="3256193297" sldId="3649"/>
        </pc:sldMkLst>
      </pc:sldChg>
      <pc:sldChg chg="add del">
        <pc:chgData name="Scott Sink" userId="007532c1-63dd-4f29-9932-df3a9735f490" providerId="ADAL" clId="{9E3C8D41-9167-4835-BE54-6D463ECD2610}" dt="2023-04-18T05:19:20.960" v="7043" actId="47"/>
        <pc:sldMkLst>
          <pc:docMk/>
          <pc:sldMk cId="3432461859" sldId="3650"/>
        </pc:sldMkLst>
      </pc:sldChg>
      <pc:sldChg chg="modSp add mod ord">
        <pc:chgData name="Scott Sink" userId="007532c1-63dd-4f29-9932-df3a9735f490" providerId="ADAL" clId="{9E3C8D41-9167-4835-BE54-6D463ECD2610}" dt="2023-04-18T04:58:30.670" v="7003" actId="1076"/>
        <pc:sldMkLst>
          <pc:docMk/>
          <pc:sldMk cId="2570695360" sldId="3651"/>
        </pc:sldMkLst>
        <pc:spChg chg="mod">
          <ac:chgData name="Scott Sink" userId="007532c1-63dd-4f29-9932-df3a9735f490" providerId="ADAL" clId="{9E3C8D41-9167-4835-BE54-6D463ECD2610}" dt="2023-04-18T04:58:28.033" v="7002" actId="1076"/>
          <ac:spMkLst>
            <pc:docMk/>
            <pc:sldMk cId="2570695360" sldId="3651"/>
            <ac:spMk id="2" creationId="{7248CB3C-56B8-4C44-9434-116CC669CEF2}"/>
          </ac:spMkLst>
        </pc:spChg>
        <pc:picChg chg="mod">
          <ac:chgData name="Scott Sink" userId="007532c1-63dd-4f29-9932-df3a9735f490" providerId="ADAL" clId="{9E3C8D41-9167-4835-BE54-6D463ECD2610}" dt="2023-04-18T04:58:30.670" v="7003" actId="1076"/>
          <ac:picMkLst>
            <pc:docMk/>
            <pc:sldMk cId="2570695360" sldId="3651"/>
            <ac:picMk id="9" creationId="{3939DB02-E441-41F0-B686-BA6E94C7293E}"/>
          </ac:picMkLst>
        </pc:picChg>
      </pc:sldChg>
      <pc:sldChg chg="modSp add del mod">
        <pc:chgData name="Scott Sink" userId="007532c1-63dd-4f29-9932-df3a9735f490" providerId="ADAL" clId="{9E3C8D41-9167-4835-BE54-6D463ECD2610}" dt="2023-04-18T05:19:13.180" v="7039" actId="47"/>
        <pc:sldMkLst>
          <pc:docMk/>
          <pc:sldMk cId="421832102" sldId="3652"/>
        </pc:sldMkLst>
        <pc:spChg chg="mod">
          <ac:chgData name="Scott Sink" userId="007532c1-63dd-4f29-9932-df3a9735f490" providerId="ADAL" clId="{9E3C8D41-9167-4835-BE54-6D463ECD2610}" dt="2023-04-18T04:59:37.291" v="7018" actId="1076"/>
          <ac:spMkLst>
            <pc:docMk/>
            <pc:sldMk cId="421832102" sldId="3652"/>
            <ac:spMk id="38" creationId="{2E249BA2-91DD-43CC-B3A5-CAF6901154C3}"/>
          </ac:spMkLst>
        </pc:spChg>
      </pc:sldChg>
      <pc:sldChg chg="add del">
        <pc:chgData name="Scott Sink" userId="007532c1-63dd-4f29-9932-df3a9735f490" providerId="ADAL" clId="{9E3C8D41-9167-4835-BE54-6D463ECD2610}" dt="2023-04-18T05:19:14.439" v="7040" actId="47"/>
        <pc:sldMkLst>
          <pc:docMk/>
          <pc:sldMk cId="798270204" sldId="3653"/>
        </pc:sldMkLst>
      </pc:sldChg>
      <pc:sldChg chg="add del">
        <pc:chgData name="Scott Sink" userId="007532c1-63dd-4f29-9932-df3a9735f490" providerId="ADAL" clId="{9E3C8D41-9167-4835-BE54-6D463ECD2610}" dt="2023-04-18T05:19:15.378" v="7041" actId="47"/>
        <pc:sldMkLst>
          <pc:docMk/>
          <pc:sldMk cId="959326453" sldId="3654"/>
        </pc:sldMkLst>
      </pc:sldChg>
      <pc:sldChg chg="addSp modSp add mod ord setBg">
        <pc:chgData name="Scott Sink" userId="007532c1-63dd-4f29-9932-df3a9735f490" providerId="ADAL" clId="{9E3C8D41-9167-4835-BE54-6D463ECD2610}" dt="2023-04-18T05:27:41.972" v="7168" actId="403"/>
        <pc:sldMkLst>
          <pc:docMk/>
          <pc:sldMk cId="3947518335" sldId="3655"/>
        </pc:sldMkLst>
        <pc:spChg chg="add mod">
          <ac:chgData name="Scott Sink" userId="007532c1-63dd-4f29-9932-df3a9735f490" providerId="ADAL" clId="{9E3C8D41-9167-4835-BE54-6D463ECD2610}" dt="2023-04-18T05:27:05.665" v="7166" actId="14861"/>
          <ac:spMkLst>
            <pc:docMk/>
            <pc:sldMk cId="3947518335" sldId="3655"/>
            <ac:spMk id="2" creationId="{00FC3847-7A5F-21BE-EE54-9889BFE6F70C}"/>
          </ac:spMkLst>
        </pc:spChg>
        <pc:spChg chg="mod">
          <ac:chgData name="Scott Sink" userId="007532c1-63dd-4f29-9932-df3a9735f490" providerId="ADAL" clId="{9E3C8D41-9167-4835-BE54-6D463ECD2610}" dt="2023-04-18T04:45:08.225" v="6561" actId="20577"/>
          <ac:spMkLst>
            <pc:docMk/>
            <pc:sldMk cId="3947518335" sldId="3655"/>
            <ac:spMk id="32770" creationId="{51541A2F-4644-4582-A265-ADA3DA420C09}"/>
          </ac:spMkLst>
        </pc:spChg>
        <pc:spChg chg="mod">
          <ac:chgData name="Scott Sink" userId="007532c1-63dd-4f29-9932-df3a9735f490" providerId="ADAL" clId="{9E3C8D41-9167-4835-BE54-6D463ECD2610}" dt="2023-04-16T13:48:58.319" v="4406" actId="14100"/>
          <ac:spMkLst>
            <pc:docMk/>
            <pc:sldMk cId="3947518335" sldId="3655"/>
            <ac:spMk id="32774" creationId="{701EC359-212E-4C5E-ABC8-77289C3BB86A}"/>
          </ac:spMkLst>
        </pc:spChg>
        <pc:spChg chg="mod">
          <ac:chgData name="Scott Sink" userId="007532c1-63dd-4f29-9932-df3a9735f490" providerId="ADAL" clId="{9E3C8D41-9167-4835-BE54-6D463ECD2610}" dt="2023-04-18T05:27:41.972" v="7168" actId="403"/>
          <ac:spMkLst>
            <pc:docMk/>
            <pc:sldMk cId="3947518335" sldId="3655"/>
            <ac:spMk id="32775" creationId="{EA04140F-F634-4E63-AD0D-02D7AC8108E2}"/>
          </ac:spMkLst>
        </pc:spChg>
        <pc:picChg chg="mod">
          <ac:chgData name="Scott Sink" userId="007532c1-63dd-4f29-9932-df3a9735f490" providerId="ADAL" clId="{9E3C8D41-9167-4835-BE54-6D463ECD2610}" dt="2023-04-16T13:49:20.421" v="4409" actId="1076"/>
          <ac:picMkLst>
            <pc:docMk/>
            <pc:sldMk cId="3947518335" sldId="3655"/>
            <ac:picMk id="32771" creationId="{22333A62-2AB6-4607-B53B-86B3CEF1A762}"/>
          </ac:picMkLst>
        </pc:picChg>
        <pc:picChg chg="mod">
          <ac:chgData name="Scott Sink" userId="007532c1-63dd-4f29-9932-df3a9735f490" providerId="ADAL" clId="{9E3C8D41-9167-4835-BE54-6D463ECD2610}" dt="2023-04-16T13:49:03.342" v="4408" actId="14100"/>
          <ac:picMkLst>
            <pc:docMk/>
            <pc:sldMk cId="3947518335" sldId="3655"/>
            <ac:picMk id="32773" creationId="{5B66B811-9340-4F02-A2A7-C57E6CBC1699}"/>
          </ac:picMkLst>
        </pc:picChg>
      </pc:sldChg>
      <pc:sldChg chg="addSp delSp modSp add del mod ord">
        <pc:chgData name="Scott Sink" userId="007532c1-63dd-4f29-9932-df3a9735f490" providerId="ADAL" clId="{9E3C8D41-9167-4835-BE54-6D463ECD2610}" dt="2023-04-17T11:10:20.694" v="4800" actId="47"/>
        <pc:sldMkLst>
          <pc:docMk/>
          <pc:sldMk cId="375268922" sldId="3656"/>
        </pc:sldMkLst>
        <pc:spChg chg="mod">
          <ac:chgData name="Scott Sink" userId="007532c1-63dd-4f29-9932-df3a9735f490" providerId="ADAL" clId="{9E3C8D41-9167-4835-BE54-6D463ECD2610}" dt="2023-04-16T13:48:07.209" v="4401" actId="1076"/>
          <ac:spMkLst>
            <pc:docMk/>
            <pc:sldMk cId="375268922" sldId="3656"/>
            <ac:spMk id="2" creationId="{E16934D1-4766-4636-9744-38DFE7C062DB}"/>
          </ac:spMkLst>
        </pc:spChg>
        <pc:spChg chg="mod">
          <ac:chgData name="Scott Sink" userId="007532c1-63dd-4f29-9932-df3a9735f490" providerId="ADAL" clId="{9E3C8D41-9167-4835-BE54-6D463ECD2610}" dt="2023-04-16T13:16:47.506" v="4400" actId="14100"/>
          <ac:spMkLst>
            <pc:docMk/>
            <pc:sldMk cId="375268922" sldId="3656"/>
            <ac:spMk id="6" creationId="{36FF8C66-FC6A-4EA5-BD1A-193810C96FA2}"/>
          </ac:spMkLst>
        </pc:spChg>
        <pc:spChg chg="add mod">
          <ac:chgData name="Scott Sink" userId="007532c1-63dd-4f29-9932-df3a9735f490" providerId="ADAL" clId="{9E3C8D41-9167-4835-BE54-6D463ECD2610}" dt="2023-04-16T14:17:01.662" v="4464" actId="14100"/>
          <ac:spMkLst>
            <pc:docMk/>
            <pc:sldMk cId="375268922" sldId="3656"/>
            <ac:spMk id="8" creationId="{2BDED742-A85C-86AB-7198-D62F339146D2}"/>
          </ac:spMkLst>
        </pc:spChg>
        <pc:picChg chg="del">
          <ac:chgData name="Scott Sink" userId="007532c1-63dd-4f29-9932-df3a9735f490" providerId="ADAL" clId="{9E3C8D41-9167-4835-BE54-6D463ECD2610}" dt="2023-04-16T13:50:24.044" v="4418" actId="478"/>
          <ac:picMkLst>
            <pc:docMk/>
            <pc:sldMk cId="375268922" sldId="3656"/>
            <ac:picMk id="4" creationId="{5358590C-F166-4FC0-A35D-68AC195CE7EB}"/>
          </ac:picMkLst>
        </pc:picChg>
        <pc:picChg chg="del mod modCrop">
          <ac:chgData name="Scott Sink" userId="007532c1-63dd-4f29-9932-df3a9735f490" providerId="ADAL" clId="{9E3C8D41-9167-4835-BE54-6D463ECD2610}" dt="2023-04-16T13:51:41.606" v="4419" actId="478"/>
          <ac:picMkLst>
            <pc:docMk/>
            <pc:sldMk cId="375268922" sldId="3656"/>
            <ac:picMk id="5" creationId="{74460A09-2259-4B41-ABC4-C7E76A656255}"/>
          </ac:picMkLst>
        </pc:picChg>
      </pc:sldChg>
      <pc:sldChg chg="add ord">
        <pc:chgData name="Scott Sink" userId="007532c1-63dd-4f29-9932-df3a9735f490" providerId="ADAL" clId="{9E3C8D41-9167-4835-BE54-6D463ECD2610}" dt="2023-04-16T13:15:48.197" v="4369"/>
        <pc:sldMkLst>
          <pc:docMk/>
          <pc:sldMk cId="3739493891" sldId="3657"/>
        </pc:sldMkLst>
      </pc:sldChg>
      <pc:sldChg chg="modSp add mod ord">
        <pc:chgData name="Scott Sink" userId="007532c1-63dd-4f29-9932-df3a9735f490" providerId="ADAL" clId="{9E3C8D41-9167-4835-BE54-6D463ECD2610}" dt="2023-04-16T13:15:48.197" v="4369"/>
        <pc:sldMkLst>
          <pc:docMk/>
          <pc:sldMk cId="3863865067" sldId="3658"/>
        </pc:sldMkLst>
        <pc:spChg chg="mod">
          <ac:chgData name="Scott Sink" userId="007532c1-63dd-4f29-9932-df3a9735f490" providerId="ADAL" clId="{9E3C8D41-9167-4835-BE54-6D463ECD2610}" dt="2023-04-16T13:15:06.594" v="4367" actId="20577"/>
          <ac:spMkLst>
            <pc:docMk/>
            <pc:sldMk cId="3863865067" sldId="3658"/>
            <ac:spMk id="2" creationId="{30A35D7C-4A4C-4BC4-8196-266A8F0FC532}"/>
          </ac:spMkLst>
        </pc:spChg>
        <pc:spChg chg="mod">
          <ac:chgData name="Scott Sink" userId="007532c1-63dd-4f29-9932-df3a9735f490" providerId="ADAL" clId="{9E3C8D41-9167-4835-BE54-6D463ECD2610}" dt="2023-04-16T13:14:57.260" v="4362" actId="20577"/>
          <ac:spMkLst>
            <pc:docMk/>
            <pc:sldMk cId="3863865067" sldId="3658"/>
            <ac:spMk id="3" creationId="{C6FEC06B-4B1F-468B-8AE2-FD2C6CE6ED0B}"/>
          </ac:spMkLst>
        </pc:spChg>
      </pc:sldChg>
      <pc:sldChg chg="modSp add mod">
        <pc:chgData name="Scott Sink" userId="007532c1-63dd-4f29-9932-df3a9735f490" providerId="ADAL" clId="{9E3C8D41-9167-4835-BE54-6D463ECD2610}" dt="2023-04-18T04:45:45.471" v="6574" actId="20577"/>
        <pc:sldMkLst>
          <pc:docMk/>
          <pc:sldMk cId="1072721253" sldId="3659"/>
        </pc:sldMkLst>
        <pc:spChg chg="mod">
          <ac:chgData name="Scott Sink" userId="007532c1-63dd-4f29-9932-df3a9735f490" providerId="ADAL" clId="{9E3C8D41-9167-4835-BE54-6D463ECD2610}" dt="2023-04-16T13:52:41.502" v="4432" actId="1076"/>
          <ac:spMkLst>
            <pc:docMk/>
            <pc:sldMk cId="1072721253" sldId="3659"/>
            <ac:spMk id="2" creationId="{E16934D1-4766-4636-9744-38DFE7C062DB}"/>
          </ac:spMkLst>
        </pc:spChg>
        <pc:spChg chg="mod">
          <ac:chgData name="Scott Sink" userId="007532c1-63dd-4f29-9932-df3a9735f490" providerId="ADAL" clId="{9E3C8D41-9167-4835-BE54-6D463ECD2610}" dt="2023-04-18T04:45:45.471" v="6574" actId="20577"/>
          <ac:spMkLst>
            <pc:docMk/>
            <pc:sldMk cId="1072721253" sldId="3659"/>
            <ac:spMk id="6" creationId="{36FF8C66-FC6A-4EA5-BD1A-193810C96FA2}"/>
          </ac:spMkLst>
        </pc:spChg>
        <pc:picChg chg="mod">
          <ac:chgData name="Scott Sink" userId="007532c1-63dd-4f29-9932-df3a9735f490" providerId="ADAL" clId="{9E3C8D41-9167-4835-BE54-6D463ECD2610}" dt="2023-04-16T13:52:33.653" v="4428" actId="1076"/>
          <ac:picMkLst>
            <pc:docMk/>
            <pc:sldMk cId="1072721253" sldId="3659"/>
            <ac:picMk id="7" creationId="{41D6C16A-75ED-423C-8A27-E9E197B48863}"/>
          </ac:picMkLst>
        </pc:picChg>
        <pc:picChg chg="mod">
          <ac:chgData name="Scott Sink" userId="007532c1-63dd-4f29-9932-df3a9735f490" providerId="ADAL" clId="{9E3C8D41-9167-4835-BE54-6D463ECD2610}" dt="2023-04-16T13:53:05.177" v="4438" actId="14100"/>
          <ac:picMkLst>
            <pc:docMk/>
            <pc:sldMk cId="1072721253" sldId="3659"/>
            <ac:picMk id="11" creationId="{611B1C87-DE42-20D8-8004-3DE73F89B3BB}"/>
          </ac:picMkLst>
        </pc:picChg>
      </pc:sldChg>
      <pc:sldChg chg="modSp add del mod">
        <pc:chgData name="Scott Sink" userId="007532c1-63dd-4f29-9932-df3a9735f490" providerId="ADAL" clId="{9E3C8D41-9167-4835-BE54-6D463ECD2610}" dt="2023-04-16T13:07:43.894" v="4291" actId="47"/>
        <pc:sldMkLst>
          <pc:docMk/>
          <pc:sldMk cId="3242819266" sldId="3659"/>
        </pc:sldMkLst>
        <pc:spChg chg="mod">
          <ac:chgData name="Scott Sink" userId="007532c1-63dd-4f29-9932-df3a9735f490" providerId="ADAL" clId="{9E3C8D41-9167-4835-BE54-6D463ECD2610}" dt="2023-04-16T13:07:23.383" v="4287" actId="20577"/>
          <ac:spMkLst>
            <pc:docMk/>
            <pc:sldMk cId="3242819266" sldId="3659"/>
            <ac:spMk id="3" creationId="{67CEF2ED-861B-430F-A3C6-400B840E512D}"/>
          </ac:spMkLst>
        </pc:spChg>
      </pc:sldChg>
      <pc:sldChg chg="modSp add mod">
        <pc:chgData name="Scott Sink" userId="007532c1-63dd-4f29-9932-df3a9735f490" providerId="ADAL" clId="{9E3C8D41-9167-4835-BE54-6D463ECD2610}" dt="2023-04-16T13:53:38.710" v="4449" actId="403"/>
        <pc:sldMkLst>
          <pc:docMk/>
          <pc:sldMk cId="3398813940" sldId="3660"/>
        </pc:sldMkLst>
        <pc:spChg chg="mod">
          <ac:chgData name="Scott Sink" userId="007532c1-63dd-4f29-9932-df3a9735f490" providerId="ADAL" clId="{9E3C8D41-9167-4835-BE54-6D463ECD2610}" dt="2023-04-16T13:53:13.351" v="4441" actId="404"/>
          <ac:spMkLst>
            <pc:docMk/>
            <pc:sldMk cId="3398813940" sldId="3660"/>
            <ac:spMk id="2" creationId="{E16934D1-4766-4636-9744-38DFE7C062DB}"/>
          </ac:spMkLst>
        </pc:spChg>
        <pc:spChg chg="mod">
          <ac:chgData name="Scott Sink" userId="007532c1-63dd-4f29-9932-df3a9735f490" providerId="ADAL" clId="{9E3C8D41-9167-4835-BE54-6D463ECD2610}" dt="2023-04-16T13:53:24.587" v="4444" actId="1076"/>
          <ac:spMkLst>
            <pc:docMk/>
            <pc:sldMk cId="3398813940" sldId="3660"/>
            <ac:spMk id="3" creationId="{5652A912-D306-C331-E00E-2982F0EA53C3}"/>
          </ac:spMkLst>
        </pc:spChg>
        <pc:spChg chg="mod">
          <ac:chgData name="Scott Sink" userId="007532c1-63dd-4f29-9932-df3a9735f490" providerId="ADAL" clId="{9E3C8D41-9167-4835-BE54-6D463ECD2610}" dt="2023-04-16T13:53:38.710" v="4449" actId="403"/>
          <ac:spMkLst>
            <pc:docMk/>
            <pc:sldMk cId="3398813940" sldId="3660"/>
            <ac:spMk id="6" creationId="{36FF8C66-FC6A-4EA5-BD1A-193810C96FA2}"/>
          </ac:spMkLst>
        </pc:spChg>
        <pc:picChg chg="mod">
          <ac:chgData name="Scott Sink" userId="007532c1-63dd-4f29-9932-df3a9735f490" providerId="ADAL" clId="{9E3C8D41-9167-4835-BE54-6D463ECD2610}" dt="2023-04-16T13:53:21.210" v="4443" actId="1076"/>
          <ac:picMkLst>
            <pc:docMk/>
            <pc:sldMk cId="3398813940" sldId="3660"/>
            <ac:picMk id="4" creationId="{61054061-4AB2-ADB4-BB62-00C331E4A7F8}"/>
          </ac:picMkLst>
        </pc:picChg>
        <pc:picChg chg="mod">
          <ac:chgData name="Scott Sink" userId="007532c1-63dd-4f29-9932-df3a9735f490" providerId="ADAL" clId="{9E3C8D41-9167-4835-BE54-6D463ECD2610}" dt="2023-04-16T13:53:15.779" v="4442" actId="1076"/>
          <ac:picMkLst>
            <pc:docMk/>
            <pc:sldMk cId="3398813940" sldId="3660"/>
            <ac:picMk id="7" creationId="{41D6C16A-75ED-423C-8A27-E9E197B48863}"/>
          </ac:picMkLst>
        </pc:picChg>
      </pc:sldChg>
      <pc:sldChg chg="modSp add mod">
        <pc:chgData name="Scott Sink" userId="007532c1-63dd-4f29-9932-df3a9735f490" providerId="ADAL" clId="{9E3C8D41-9167-4835-BE54-6D463ECD2610}" dt="2023-04-16T13:54:10.370" v="4454" actId="1076"/>
        <pc:sldMkLst>
          <pc:docMk/>
          <pc:sldMk cId="3679005368" sldId="3661"/>
        </pc:sldMkLst>
        <pc:spChg chg="mod">
          <ac:chgData name="Scott Sink" userId="007532c1-63dd-4f29-9932-df3a9735f490" providerId="ADAL" clId="{9E3C8D41-9167-4835-BE54-6D463ECD2610}" dt="2023-04-16T13:54:10.370" v="4454" actId="1076"/>
          <ac:spMkLst>
            <pc:docMk/>
            <pc:sldMk cId="3679005368" sldId="3661"/>
            <ac:spMk id="2" creationId="{E16934D1-4766-4636-9744-38DFE7C062DB}"/>
          </ac:spMkLst>
        </pc:spChg>
        <pc:picChg chg="mod">
          <ac:chgData name="Scott Sink" userId="007532c1-63dd-4f29-9932-df3a9735f490" providerId="ADAL" clId="{9E3C8D41-9167-4835-BE54-6D463ECD2610}" dt="2023-04-16T13:54:02.254" v="4450" actId="1076"/>
          <ac:picMkLst>
            <pc:docMk/>
            <pc:sldMk cId="3679005368" sldId="3661"/>
            <ac:picMk id="7" creationId="{41D6C16A-75ED-423C-8A27-E9E197B48863}"/>
          </ac:picMkLst>
        </pc:picChg>
      </pc:sldChg>
      <pc:sldChg chg="add">
        <pc:chgData name="Scott Sink" userId="007532c1-63dd-4f29-9932-df3a9735f490" providerId="ADAL" clId="{9E3C8D41-9167-4835-BE54-6D463ECD2610}" dt="2023-04-16T13:52:24.333" v="4427"/>
        <pc:sldMkLst>
          <pc:docMk/>
          <pc:sldMk cId="1146381394" sldId="3662"/>
        </pc:sldMkLst>
      </pc:sldChg>
      <pc:sldChg chg="addSp delSp modSp new mod ord">
        <pc:chgData name="Scott Sink" userId="007532c1-63dd-4f29-9932-df3a9735f490" providerId="ADAL" clId="{9E3C8D41-9167-4835-BE54-6D463ECD2610}" dt="2023-04-17T11:20:46.424" v="4935"/>
        <pc:sldMkLst>
          <pc:docMk/>
          <pc:sldMk cId="2959633687" sldId="3663"/>
        </pc:sldMkLst>
        <pc:spChg chg="mod">
          <ac:chgData name="Scott Sink" userId="007532c1-63dd-4f29-9932-df3a9735f490" providerId="ADAL" clId="{9E3C8D41-9167-4835-BE54-6D463ECD2610}" dt="2023-04-17T11:17:38.959" v="4921" actId="1076"/>
          <ac:spMkLst>
            <pc:docMk/>
            <pc:sldMk cId="2959633687" sldId="3663"/>
            <ac:spMk id="2" creationId="{67476C7C-4F10-1DE8-4C73-302EF178FB5D}"/>
          </ac:spMkLst>
        </pc:spChg>
        <pc:spChg chg="del">
          <ac:chgData name="Scott Sink" userId="007532c1-63dd-4f29-9932-df3a9735f490" providerId="ADAL" clId="{9E3C8D41-9167-4835-BE54-6D463ECD2610}" dt="2023-04-17T11:17:16.826" v="4899" actId="478"/>
          <ac:spMkLst>
            <pc:docMk/>
            <pc:sldMk cId="2959633687" sldId="3663"/>
            <ac:spMk id="3" creationId="{E6E18D96-5042-3D47-4566-7EFA2EEC1E0E}"/>
          </ac:spMkLst>
        </pc:spChg>
        <pc:picChg chg="add mod">
          <ac:chgData name="Scott Sink" userId="007532c1-63dd-4f29-9932-df3a9735f490" providerId="ADAL" clId="{9E3C8D41-9167-4835-BE54-6D463ECD2610}" dt="2023-04-17T11:20:09.561" v="4929" actId="1076"/>
          <ac:picMkLst>
            <pc:docMk/>
            <pc:sldMk cId="2959633687" sldId="3663"/>
            <ac:picMk id="5" creationId="{7B7497E7-1678-08D9-B4D5-5BF346BD14C4}"/>
          </ac:picMkLst>
        </pc:picChg>
        <pc:picChg chg="add mod">
          <ac:chgData name="Scott Sink" userId="007532c1-63dd-4f29-9932-df3a9735f490" providerId="ADAL" clId="{9E3C8D41-9167-4835-BE54-6D463ECD2610}" dt="2023-04-17T11:17:28.011" v="4902"/>
          <ac:picMkLst>
            <pc:docMk/>
            <pc:sldMk cId="2959633687" sldId="3663"/>
            <ac:picMk id="6" creationId="{5C32B693-A392-2DAF-7F59-7D249F49ACA4}"/>
          </ac:picMkLst>
        </pc:picChg>
        <pc:picChg chg="add mod">
          <ac:chgData name="Scott Sink" userId="007532c1-63dd-4f29-9932-df3a9735f490" providerId="ADAL" clId="{9E3C8D41-9167-4835-BE54-6D463ECD2610}" dt="2023-04-17T11:20:12.369" v="4930" actId="1076"/>
          <ac:picMkLst>
            <pc:docMk/>
            <pc:sldMk cId="2959633687" sldId="3663"/>
            <ac:picMk id="8" creationId="{44037144-35D8-5ED7-49E7-49D4907F210E}"/>
          </ac:picMkLst>
        </pc:picChg>
      </pc:sldChg>
      <pc:sldChg chg="modSp new mod ord">
        <pc:chgData name="Scott Sink" userId="007532c1-63dd-4f29-9932-df3a9735f490" providerId="ADAL" clId="{9E3C8D41-9167-4835-BE54-6D463ECD2610}" dt="2023-04-18T04:48:04.245" v="6674"/>
        <pc:sldMkLst>
          <pc:docMk/>
          <pc:sldMk cId="2028695767" sldId="3664"/>
        </pc:sldMkLst>
        <pc:spChg chg="mod">
          <ac:chgData name="Scott Sink" userId="007532c1-63dd-4f29-9932-df3a9735f490" providerId="ADAL" clId="{9E3C8D41-9167-4835-BE54-6D463ECD2610}" dt="2023-04-17T11:57:32.053" v="6080" actId="404"/>
          <ac:spMkLst>
            <pc:docMk/>
            <pc:sldMk cId="2028695767" sldId="3664"/>
            <ac:spMk id="2" creationId="{A83814B1-BB64-7D08-F6AA-F774E104D131}"/>
          </ac:spMkLst>
        </pc:spChg>
        <pc:spChg chg="mod">
          <ac:chgData name="Scott Sink" userId="007532c1-63dd-4f29-9932-df3a9735f490" providerId="ADAL" clId="{9E3C8D41-9167-4835-BE54-6D463ECD2610}" dt="2023-04-17T11:58:20.909" v="6229" actId="20577"/>
          <ac:spMkLst>
            <pc:docMk/>
            <pc:sldMk cId="2028695767" sldId="3664"/>
            <ac:spMk id="3" creationId="{8485AC5E-DF63-55C1-7873-F09D5EB25D5F}"/>
          </ac:spMkLst>
        </pc:spChg>
      </pc:sldChg>
      <pc:sldChg chg="modSp new del mod">
        <pc:chgData name="Scott Sink" userId="007532c1-63dd-4f29-9932-df3a9735f490" providerId="ADAL" clId="{9E3C8D41-9167-4835-BE54-6D463ECD2610}" dt="2023-04-17T11:37:45.014" v="5008" actId="47"/>
        <pc:sldMkLst>
          <pc:docMk/>
          <pc:sldMk cId="3443499363" sldId="3665"/>
        </pc:sldMkLst>
        <pc:spChg chg="mod">
          <ac:chgData name="Scott Sink" userId="007532c1-63dd-4f29-9932-df3a9735f490" providerId="ADAL" clId="{9E3C8D41-9167-4835-BE54-6D463ECD2610}" dt="2023-04-17T11:37:24.274" v="5004" actId="1076"/>
          <ac:spMkLst>
            <pc:docMk/>
            <pc:sldMk cId="3443499363" sldId="3665"/>
            <ac:spMk id="3" creationId="{0E2B97E4-E743-14C9-0C34-DC409D9FEA52}"/>
          </ac:spMkLst>
        </pc:spChg>
      </pc:sldChg>
      <pc:sldChg chg="modSp add mod ord">
        <pc:chgData name="Scott Sink" userId="007532c1-63dd-4f29-9932-df3a9735f490" providerId="ADAL" clId="{9E3C8D41-9167-4835-BE54-6D463ECD2610}" dt="2023-04-18T04:50:32.629" v="6847" actId="5793"/>
        <pc:sldMkLst>
          <pc:docMk/>
          <pc:sldMk cId="1419495277" sldId="3666"/>
        </pc:sldMkLst>
        <pc:spChg chg="mod">
          <ac:chgData name="Scott Sink" userId="007532c1-63dd-4f29-9932-df3a9735f490" providerId="ADAL" clId="{9E3C8D41-9167-4835-BE54-6D463ECD2610}" dt="2023-04-18T04:50:32.629" v="6847" actId="5793"/>
          <ac:spMkLst>
            <pc:docMk/>
            <pc:sldMk cId="1419495277" sldId="3666"/>
            <ac:spMk id="2" creationId="{632B48E4-BBAE-520C-32C1-3FDA85F868A1}"/>
          </ac:spMkLst>
        </pc:spChg>
        <pc:spChg chg="mod">
          <ac:chgData name="Scott Sink" userId="007532c1-63dd-4f29-9932-df3a9735f490" providerId="ADAL" clId="{9E3C8D41-9167-4835-BE54-6D463ECD2610}" dt="2023-04-18T04:50:17.931" v="6817" actId="20577"/>
          <ac:spMkLst>
            <pc:docMk/>
            <pc:sldMk cId="1419495277" sldId="3666"/>
            <ac:spMk id="11" creationId="{4CE7A314-EA89-FE08-FFF0-E0F74CBDC1E7}"/>
          </ac:spMkLst>
        </pc:spChg>
      </pc:sldChg>
      <pc:sldChg chg="del">
        <pc:chgData name="Scott Sink" userId="007532c1-63dd-4f29-9932-df3a9735f490" providerId="ADAL" clId="{9E3C8D41-9167-4835-BE54-6D463ECD2610}" dt="2023-04-17T11:48:21.779" v="5331"/>
        <pc:sldMkLst>
          <pc:docMk/>
          <pc:sldMk cId="2243180750" sldId="3667"/>
        </pc:sldMkLst>
      </pc:sldChg>
      <pc:sldChg chg="addSp delSp modSp add mod ord">
        <pc:chgData name="Scott Sink" userId="007532c1-63dd-4f29-9932-df3a9735f490" providerId="ADAL" clId="{9E3C8D41-9167-4835-BE54-6D463ECD2610}" dt="2023-04-17T14:42:14.964" v="6518" actId="20577"/>
        <pc:sldMkLst>
          <pc:docMk/>
          <pc:sldMk cId="4128266154" sldId="3667"/>
        </pc:sldMkLst>
        <pc:spChg chg="mod">
          <ac:chgData name="Scott Sink" userId="007532c1-63dd-4f29-9932-df3a9735f490" providerId="ADAL" clId="{9E3C8D41-9167-4835-BE54-6D463ECD2610}" dt="2023-04-17T14:42:14.964" v="6518" actId="20577"/>
          <ac:spMkLst>
            <pc:docMk/>
            <pc:sldMk cId="4128266154" sldId="3667"/>
            <ac:spMk id="11" creationId="{4CE7A314-EA89-FE08-FFF0-E0F74CBDC1E7}"/>
          </ac:spMkLst>
        </pc:spChg>
        <pc:picChg chg="add del mod">
          <ac:chgData name="Scott Sink" userId="007532c1-63dd-4f29-9932-df3a9735f490" providerId="ADAL" clId="{9E3C8D41-9167-4835-BE54-6D463ECD2610}" dt="2023-04-17T14:41:15.898" v="6365" actId="478"/>
          <ac:picMkLst>
            <pc:docMk/>
            <pc:sldMk cId="4128266154" sldId="3667"/>
            <ac:picMk id="5" creationId="{E8492292-DCCE-3CF2-C946-56CF331827CD}"/>
          </ac:picMkLst>
        </pc:picChg>
      </pc:sldChg>
      <pc:sldChg chg="modSp add mod ord">
        <pc:chgData name="Scott Sink" userId="007532c1-63dd-4f29-9932-df3a9735f490" providerId="ADAL" clId="{9E3C8D41-9167-4835-BE54-6D463ECD2610}" dt="2023-04-18T04:52:05.248" v="6875" actId="20577"/>
        <pc:sldMkLst>
          <pc:docMk/>
          <pc:sldMk cId="2086568190" sldId="3668"/>
        </pc:sldMkLst>
        <pc:spChg chg="mod">
          <ac:chgData name="Scott Sink" userId="007532c1-63dd-4f29-9932-df3a9735f490" providerId="ADAL" clId="{9E3C8D41-9167-4835-BE54-6D463ECD2610}" dt="2023-04-18T04:52:05.248" v="6875" actId="20577"/>
          <ac:spMkLst>
            <pc:docMk/>
            <pc:sldMk cId="2086568190" sldId="3668"/>
            <ac:spMk id="11" creationId="{4CE7A314-EA89-FE08-FFF0-E0F74CBDC1E7}"/>
          </ac:spMkLst>
        </pc:spChg>
      </pc:sldChg>
      <pc:sldChg chg="addSp delSp modSp add mod ord">
        <pc:chgData name="Scott Sink" userId="007532c1-63dd-4f29-9932-df3a9735f490" providerId="ADAL" clId="{9E3C8D41-9167-4835-BE54-6D463ECD2610}" dt="2023-04-18T04:57:54.790" v="6999" actId="1076"/>
        <pc:sldMkLst>
          <pc:docMk/>
          <pc:sldMk cId="1298455054" sldId="3669"/>
        </pc:sldMkLst>
        <pc:spChg chg="del mod">
          <ac:chgData name="Scott Sink" userId="007532c1-63dd-4f29-9932-df3a9735f490" providerId="ADAL" clId="{9E3C8D41-9167-4835-BE54-6D463ECD2610}" dt="2023-04-18T04:55:40.214" v="6974" actId="478"/>
          <ac:spMkLst>
            <pc:docMk/>
            <pc:sldMk cId="1298455054" sldId="3669"/>
            <ac:spMk id="2" creationId="{9A3A1A8B-27BF-538A-AE46-03936D172E6D}"/>
          </ac:spMkLst>
        </pc:spChg>
        <pc:spChg chg="mod">
          <ac:chgData name="Scott Sink" userId="007532c1-63dd-4f29-9932-df3a9735f490" providerId="ADAL" clId="{9E3C8D41-9167-4835-BE54-6D463ECD2610}" dt="2023-04-18T04:53:24.666" v="6921" actId="20577"/>
          <ac:spMkLst>
            <pc:docMk/>
            <pc:sldMk cId="1298455054" sldId="3669"/>
            <ac:spMk id="4" creationId="{F890E94B-3FC1-3939-775E-B6AC4F3C7C07}"/>
          </ac:spMkLst>
        </pc:spChg>
        <pc:spChg chg="add del mod">
          <ac:chgData name="Scott Sink" userId="007532c1-63dd-4f29-9932-df3a9735f490" providerId="ADAL" clId="{9E3C8D41-9167-4835-BE54-6D463ECD2610}" dt="2023-04-18T04:55:42.577" v="6975" actId="478"/>
          <ac:spMkLst>
            <pc:docMk/>
            <pc:sldMk cId="1298455054" sldId="3669"/>
            <ac:spMk id="7" creationId="{5893DFF5-627B-7E44-5422-1BD15AD23A10}"/>
          </ac:spMkLst>
        </pc:spChg>
        <pc:spChg chg="mod">
          <ac:chgData name="Scott Sink" userId="007532c1-63dd-4f29-9932-df3a9735f490" providerId="ADAL" clId="{9E3C8D41-9167-4835-BE54-6D463ECD2610}" dt="2023-04-18T04:57:41.191" v="6995" actId="1076"/>
          <ac:spMkLst>
            <pc:docMk/>
            <pc:sldMk cId="1298455054" sldId="3669"/>
            <ac:spMk id="15" creationId="{E4A69D80-730C-74A6-D1A3-D43426CEBD2E}"/>
          </ac:spMkLst>
        </pc:spChg>
        <pc:spChg chg="mod">
          <ac:chgData name="Scott Sink" userId="007532c1-63dd-4f29-9932-df3a9735f490" providerId="ADAL" clId="{9E3C8D41-9167-4835-BE54-6D463ECD2610}" dt="2023-04-18T04:57:44.224" v="6996" actId="1076"/>
          <ac:spMkLst>
            <pc:docMk/>
            <pc:sldMk cId="1298455054" sldId="3669"/>
            <ac:spMk id="16" creationId="{7667B206-BB8B-7F34-EC9A-CAAAED8D4A97}"/>
          </ac:spMkLst>
        </pc:spChg>
        <pc:picChg chg="del">
          <ac:chgData name="Scott Sink" userId="007532c1-63dd-4f29-9932-df3a9735f490" providerId="ADAL" clId="{9E3C8D41-9167-4835-BE54-6D463ECD2610}" dt="2023-04-18T04:55:55.115" v="6980" actId="478"/>
          <ac:picMkLst>
            <pc:docMk/>
            <pc:sldMk cId="1298455054" sldId="3669"/>
            <ac:picMk id="6" creationId="{24B18EBD-CCB0-51CA-2AC1-E1A5080A5AA0}"/>
          </ac:picMkLst>
        </pc:picChg>
        <pc:picChg chg="add mod">
          <ac:chgData name="Scott Sink" userId="007532c1-63dd-4f29-9932-df3a9735f490" providerId="ADAL" clId="{9E3C8D41-9167-4835-BE54-6D463ECD2610}" dt="2023-04-18T04:57:54.790" v="6999" actId="1076"/>
          <ac:picMkLst>
            <pc:docMk/>
            <pc:sldMk cId="1298455054" sldId="3669"/>
            <ac:picMk id="9" creationId="{9D56553E-B883-1665-1992-F90645049732}"/>
          </ac:picMkLst>
        </pc:picChg>
        <pc:picChg chg="del">
          <ac:chgData name="Scott Sink" userId="007532c1-63dd-4f29-9932-df3a9735f490" providerId="ADAL" clId="{9E3C8D41-9167-4835-BE54-6D463ECD2610}" dt="2023-04-18T04:55:57.433" v="6981" actId="478"/>
          <ac:picMkLst>
            <pc:docMk/>
            <pc:sldMk cId="1298455054" sldId="3669"/>
            <ac:picMk id="12" creationId="{7C5DCDD9-7A0E-5D2C-70A8-97A8B66E702C}"/>
          </ac:picMkLst>
        </pc:picChg>
        <pc:picChg chg="mod">
          <ac:chgData name="Scott Sink" userId="007532c1-63dd-4f29-9932-df3a9735f490" providerId="ADAL" clId="{9E3C8D41-9167-4835-BE54-6D463ECD2610}" dt="2023-04-18T04:57:30.408" v="6991" actId="1076"/>
          <ac:picMkLst>
            <pc:docMk/>
            <pc:sldMk cId="1298455054" sldId="3669"/>
            <ac:picMk id="14" creationId="{8CADF318-01A5-2FFC-4F34-36B025AA5D1C}"/>
          </ac:picMkLst>
        </pc:picChg>
        <pc:picChg chg="del">
          <ac:chgData name="Scott Sink" userId="007532c1-63dd-4f29-9932-df3a9735f490" providerId="ADAL" clId="{9E3C8D41-9167-4835-BE54-6D463ECD2610}" dt="2023-04-18T04:55:58.226" v="6982" actId="478"/>
          <ac:picMkLst>
            <pc:docMk/>
            <pc:sldMk cId="1298455054" sldId="3669"/>
            <ac:picMk id="18" creationId="{76377650-C309-563A-827A-C766C95C8CA0}"/>
          </ac:picMkLst>
        </pc:picChg>
      </pc:sldChg>
      <pc:sldChg chg="add">
        <pc:chgData name="Scott Sink" userId="007532c1-63dd-4f29-9932-df3a9735f490" providerId="ADAL" clId="{9E3C8D41-9167-4835-BE54-6D463ECD2610}" dt="2023-04-18T05:17:49.363" v="7022"/>
        <pc:sldMkLst>
          <pc:docMk/>
          <pc:sldMk cId="3811734949" sldId="3670"/>
        </pc:sldMkLst>
      </pc:sldChg>
      <pc:sldChg chg="add">
        <pc:chgData name="Scott Sink" userId="007532c1-63dd-4f29-9932-df3a9735f490" providerId="ADAL" clId="{9E3C8D41-9167-4835-BE54-6D463ECD2610}" dt="2023-04-18T05:17:54.280" v="7024"/>
        <pc:sldMkLst>
          <pc:docMk/>
          <pc:sldMk cId="2021225452" sldId="3671"/>
        </pc:sldMkLst>
      </pc:sldChg>
      <pc:sldChg chg="add">
        <pc:chgData name="Scott Sink" userId="007532c1-63dd-4f29-9932-df3a9735f490" providerId="ADAL" clId="{9E3C8D41-9167-4835-BE54-6D463ECD2610}" dt="2023-04-18T05:17:55.410" v="7026"/>
        <pc:sldMkLst>
          <pc:docMk/>
          <pc:sldMk cId="3881647464" sldId="3672"/>
        </pc:sldMkLst>
      </pc:sldChg>
      <pc:sldChg chg="add">
        <pc:chgData name="Scott Sink" userId="007532c1-63dd-4f29-9932-df3a9735f490" providerId="ADAL" clId="{9E3C8D41-9167-4835-BE54-6D463ECD2610}" dt="2023-04-18T05:17:58.595" v="7028"/>
        <pc:sldMkLst>
          <pc:docMk/>
          <pc:sldMk cId="2479828351" sldId="3673"/>
        </pc:sldMkLst>
      </pc:sldChg>
      <pc:sldChg chg="add">
        <pc:chgData name="Scott Sink" userId="007532c1-63dd-4f29-9932-df3a9735f490" providerId="ADAL" clId="{9E3C8D41-9167-4835-BE54-6D463ECD2610}" dt="2023-04-18T05:18:01.857" v="7030"/>
        <pc:sldMkLst>
          <pc:docMk/>
          <pc:sldMk cId="2182207974" sldId="3674"/>
        </pc:sldMkLst>
      </pc:sldChg>
      <pc:sldChg chg="add">
        <pc:chgData name="Scott Sink" userId="007532c1-63dd-4f29-9932-df3a9735f490" providerId="ADAL" clId="{9E3C8D41-9167-4835-BE54-6D463ECD2610}" dt="2023-04-18T05:18:30.563" v="7032"/>
        <pc:sldMkLst>
          <pc:docMk/>
          <pc:sldMk cId="606440969" sldId="3675"/>
        </pc:sldMkLst>
      </pc:sldChg>
      <pc:sldChg chg="add">
        <pc:chgData name="Scott Sink" userId="007532c1-63dd-4f29-9932-df3a9735f490" providerId="ADAL" clId="{9E3C8D41-9167-4835-BE54-6D463ECD2610}" dt="2023-04-18T05:18:37.188" v="7034"/>
        <pc:sldMkLst>
          <pc:docMk/>
          <pc:sldMk cId="2306352246" sldId="3676"/>
        </pc:sldMkLst>
      </pc:sldChg>
      <pc:sldChg chg="add">
        <pc:chgData name="Scott Sink" userId="007532c1-63dd-4f29-9932-df3a9735f490" providerId="ADAL" clId="{9E3C8D41-9167-4835-BE54-6D463ECD2610}" dt="2023-04-18T05:18:40.067" v="7036"/>
        <pc:sldMkLst>
          <pc:docMk/>
          <pc:sldMk cId="278842996" sldId="3677"/>
        </pc:sldMkLst>
      </pc:sldChg>
      <pc:sldChg chg="add">
        <pc:chgData name="Scott Sink" userId="007532c1-63dd-4f29-9932-df3a9735f490" providerId="ADAL" clId="{9E3C8D41-9167-4835-BE54-6D463ECD2610}" dt="2023-04-18T05:18:42.390" v="7038"/>
        <pc:sldMkLst>
          <pc:docMk/>
          <pc:sldMk cId="1312695074" sldId="3678"/>
        </pc:sldMkLst>
      </pc:sldChg>
      <pc:sldChg chg="modSp add del mod ord">
        <pc:chgData name="Scott Sink" userId="007532c1-63dd-4f29-9932-df3a9735f490" providerId="ADAL" clId="{9E3C8D41-9167-4835-BE54-6D463ECD2610}" dt="2023-04-18T10:15:52.918" v="7489" actId="47"/>
        <pc:sldMkLst>
          <pc:docMk/>
          <pc:sldMk cId="1072134111" sldId="3679"/>
        </pc:sldMkLst>
        <pc:spChg chg="mod">
          <ac:chgData name="Scott Sink" userId="007532c1-63dd-4f29-9932-df3a9735f490" providerId="ADAL" clId="{9E3C8D41-9167-4835-BE54-6D463ECD2610}" dt="2023-04-18T05:23:26.836" v="7095" actId="14100"/>
          <ac:spMkLst>
            <pc:docMk/>
            <pc:sldMk cId="1072134111" sldId="3679"/>
            <ac:spMk id="6" creationId="{F5FA34A8-ECC0-FEC2-79F6-0A4B213195AE}"/>
          </ac:spMkLst>
        </pc:spChg>
      </pc:sldChg>
      <pc:sldChg chg="addSp modSp add mod ord">
        <pc:chgData name="Scott Sink" userId="007532c1-63dd-4f29-9932-df3a9735f490" providerId="ADAL" clId="{9E3C8D41-9167-4835-BE54-6D463ECD2610}" dt="2023-04-18T05:24:24.256" v="7124" actId="688"/>
        <pc:sldMkLst>
          <pc:docMk/>
          <pc:sldMk cId="2538638" sldId="3680"/>
        </pc:sldMkLst>
        <pc:spChg chg="add mod">
          <ac:chgData name="Scott Sink" userId="007532c1-63dd-4f29-9932-df3a9735f490" providerId="ADAL" clId="{9E3C8D41-9167-4835-BE54-6D463ECD2610}" dt="2023-04-18T05:24:24.256" v="7124" actId="688"/>
          <ac:spMkLst>
            <pc:docMk/>
            <pc:sldMk cId="2538638" sldId="3680"/>
            <ac:spMk id="12" creationId="{6534C1D0-A472-CD65-9592-13113843A9E6}"/>
          </ac:spMkLst>
        </pc:spChg>
      </pc:sldChg>
      <pc:sldChg chg="add">
        <pc:chgData name="Scott Sink" userId="007532c1-63dd-4f29-9932-df3a9735f490" providerId="ADAL" clId="{9E3C8D41-9167-4835-BE54-6D463ECD2610}" dt="2023-04-18T05:23:44.058" v="7097" actId="2890"/>
        <pc:sldMkLst>
          <pc:docMk/>
          <pc:sldMk cId="2271784520" sldId="3681"/>
        </pc:sldMkLst>
      </pc:sldChg>
      <pc:sldChg chg="addSp delSp modSp new mod">
        <pc:chgData name="Scott Sink" userId="007532c1-63dd-4f29-9932-df3a9735f490" providerId="ADAL" clId="{9E3C8D41-9167-4835-BE54-6D463ECD2610}" dt="2023-04-18T05:32:22.014" v="7239" actId="1076"/>
        <pc:sldMkLst>
          <pc:docMk/>
          <pc:sldMk cId="3948270344" sldId="3682"/>
        </pc:sldMkLst>
        <pc:spChg chg="mod">
          <ac:chgData name="Scott Sink" userId="007532c1-63dd-4f29-9932-df3a9735f490" providerId="ADAL" clId="{9E3C8D41-9167-4835-BE54-6D463ECD2610}" dt="2023-04-18T05:30:51.817" v="7221" actId="20577"/>
          <ac:spMkLst>
            <pc:docMk/>
            <pc:sldMk cId="3948270344" sldId="3682"/>
            <ac:spMk id="2" creationId="{FEDC750A-1EE1-3DEC-4F45-1476C6EB148E}"/>
          </ac:spMkLst>
        </pc:spChg>
        <pc:spChg chg="del">
          <ac:chgData name="Scott Sink" userId="007532c1-63dd-4f29-9932-df3a9735f490" providerId="ADAL" clId="{9E3C8D41-9167-4835-BE54-6D463ECD2610}" dt="2023-04-18T05:29:03.034" v="7173" actId="478"/>
          <ac:spMkLst>
            <pc:docMk/>
            <pc:sldMk cId="3948270344" sldId="3682"/>
            <ac:spMk id="3" creationId="{4689BA7B-B29D-1CBA-B2BF-1D8818052263}"/>
          </ac:spMkLst>
        </pc:spChg>
        <pc:spChg chg="add mod">
          <ac:chgData name="Scott Sink" userId="007532c1-63dd-4f29-9932-df3a9735f490" providerId="ADAL" clId="{9E3C8D41-9167-4835-BE54-6D463ECD2610}" dt="2023-04-18T05:32:22.014" v="7239" actId="1076"/>
          <ac:spMkLst>
            <pc:docMk/>
            <pc:sldMk cId="3948270344" sldId="3682"/>
            <ac:spMk id="5" creationId="{ED6BB559-CF1C-588F-27BD-0A512401B924}"/>
          </ac:spMkLst>
        </pc:spChg>
        <pc:picChg chg="add del mod">
          <ac:chgData name="Scott Sink" userId="007532c1-63dd-4f29-9932-df3a9735f490" providerId="ADAL" clId="{9E3C8D41-9167-4835-BE54-6D463ECD2610}" dt="2023-04-18T05:32:17.810" v="7237" actId="478"/>
          <ac:picMkLst>
            <pc:docMk/>
            <pc:sldMk cId="3948270344" sldId="3682"/>
            <ac:picMk id="7" creationId="{DDE1F6BF-B0A7-8214-02E3-1A907CCCED0E}"/>
          </ac:picMkLst>
        </pc:picChg>
        <pc:picChg chg="add mod modCrop">
          <ac:chgData name="Scott Sink" userId="007532c1-63dd-4f29-9932-df3a9735f490" providerId="ADAL" clId="{9E3C8D41-9167-4835-BE54-6D463ECD2610}" dt="2023-04-18T05:32:19.371" v="7238" actId="1076"/>
          <ac:picMkLst>
            <pc:docMk/>
            <pc:sldMk cId="3948270344" sldId="3682"/>
            <ac:picMk id="9" creationId="{5F969AE7-1ED5-AA69-A1F8-ABE648E9D079}"/>
          </ac:picMkLst>
        </pc:picChg>
      </pc:sldChg>
      <pc:sldChg chg="modSp add mod">
        <pc:chgData name="Scott Sink" userId="007532c1-63dd-4f29-9932-df3a9735f490" providerId="ADAL" clId="{9E3C8D41-9167-4835-BE54-6D463ECD2610}" dt="2023-04-18T05:38:41.346" v="7426" actId="20577"/>
        <pc:sldMkLst>
          <pc:docMk/>
          <pc:sldMk cId="3083674499" sldId="3683"/>
        </pc:sldMkLst>
        <pc:spChg chg="mod">
          <ac:chgData name="Scott Sink" userId="007532c1-63dd-4f29-9932-df3a9735f490" providerId="ADAL" clId="{9E3C8D41-9167-4835-BE54-6D463ECD2610}" dt="2023-04-18T05:38:41.346" v="7426" actId="20577"/>
          <ac:spMkLst>
            <pc:docMk/>
            <pc:sldMk cId="3083674499" sldId="3683"/>
            <ac:spMk id="9" creationId="{5ACBF105-37A5-4EFF-9212-3A4FB813785F}"/>
          </ac:spMkLst>
        </pc:spChg>
      </pc:sldChg>
      <pc:sldChg chg="addSp delSp modSp add mod ord">
        <pc:chgData name="Scott Sink" userId="007532c1-63dd-4f29-9932-df3a9735f490" providerId="ADAL" clId="{9E3C8D41-9167-4835-BE54-6D463ECD2610}" dt="2023-04-18T10:14:40.177" v="7470"/>
        <pc:sldMkLst>
          <pc:docMk/>
          <pc:sldMk cId="1332262258" sldId="3684"/>
        </pc:sldMkLst>
        <pc:spChg chg="del">
          <ac:chgData name="Scott Sink" userId="007532c1-63dd-4f29-9932-df3a9735f490" providerId="ADAL" clId="{9E3C8D41-9167-4835-BE54-6D463ECD2610}" dt="2023-04-18T10:14:22.475" v="7466" actId="478"/>
          <ac:spMkLst>
            <pc:docMk/>
            <pc:sldMk cId="1332262258" sldId="3684"/>
            <ac:spMk id="5" creationId="{BD119F5D-19E2-ECEF-100F-32C90BA4E4C8}"/>
          </ac:spMkLst>
        </pc:spChg>
        <pc:spChg chg="del">
          <ac:chgData name="Scott Sink" userId="007532c1-63dd-4f29-9932-df3a9735f490" providerId="ADAL" clId="{9E3C8D41-9167-4835-BE54-6D463ECD2610}" dt="2023-04-18T10:14:25.840" v="7468" actId="478"/>
          <ac:spMkLst>
            <pc:docMk/>
            <pc:sldMk cId="1332262258" sldId="3684"/>
            <ac:spMk id="6" creationId="{A568D454-ADD5-6F63-CA8A-7EE4FE147F51}"/>
          </ac:spMkLst>
        </pc:spChg>
        <pc:spChg chg="add mod">
          <ac:chgData name="Scott Sink" userId="007532c1-63dd-4f29-9932-df3a9735f490" providerId="ADAL" clId="{9E3C8D41-9167-4835-BE54-6D463ECD2610}" dt="2023-04-18T10:14:30.868" v="7469" actId="1076"/>
          <ac:spMkLst>
            <pc:docMk/>
            <pc:sldMk cId="1332262258" sldId="3684"/>
            <ac:spMk id="7" creationId="{35DC65A2-8005-930F-66BF-242394314E77}"/>
          </ac:spMkLst>
        </pc:spChg>
        <pc:spChg chg="add mod">
          <ac:chgData name="Scott Sink" userId="007532c1-63dd-4f29-9932-df3a9735f490" providerId="ADAL" clId="{9E3C8D41-9167-4835-BE54-6D463ECD2610}" dt="2023-04-18T10:14:40.177" v="7470"/>
          <ac:spMkLst>
            <pc:docMk/>
            <pc:sldMk cId="1332262258" sldId="3684"/>
            <ac:spMk id="8" creationId="{342D672B-71DE-B6D0-F083-5B3A60108A00}"/>
          </ac:spMkLst>
        </pc:spChg>
      </pc:sldChg>
      <pc:sldChg chg="modSp add mod ord">
        <pc:chgData name="Scott Sink" userId="007532c1-63dd-4f29-9932-df3a9735f490" providerId="ADAL" clId="{9E3C8D41-9167-4835-BE54-6D463ECD2610}" dt="2023-04-18T10:15:14.210" v="7476" actId="1076"/>
        <pc:sldMkLst>
          <pc:docMk/>
          <pc:sldMk cId="1499946056" sldId="3685"/>
        </pc:sldMkLst>
        <pc:spChg chg="mod">
          <ac:chgData name="Scott Sink" userId="007532c1-63dd-4f29-9932-df3a9735f490" providerId="ADAL" clId="{9E3C8D41-9167-4835-BE54-6D463ECD2610}" dt="2023-04-18T10:15:14.210" v="7476" actId="1076"/>
          <ac:spMkLst>
            <pc:docMk/>
            <pc:sldMk cId="1499946056" sldId="3685"/>
            <ac:spMk id="8" creationId="{342D672B-71DE-B6D0-F083-5B3A60108A00}"/>
          </ac:spMkLst>
        </pc:spChg>
      </pc:sldChg>
      <pc:sldChg chg="modSp add mod ord">
        <pc:chgData name="Scott Sink" userId="007532c1-63dd-4f29-9932-df3a9735f490" providerId="ADAL" clId="{9E3C8D41-9167-4835-BE54-6D463ECD2610}" dt="2023-04-18T10:15:33.681" v="7483" actId="1076"/>
        <pc:sldMkLst>
          <pc:docMk/>
          <pc:sldMk cId="2305056567" sldId="3686"/>
        </pc:sldMkLst>
        <pc:spChg chg="mod">
          <ac:chgData name="Scott Sink" userId="007532c1-63dd-4f29-9932-df3a9735f490" providerId="ADAL" clId="{9E3C8D41-9167-4835-BE54-6D463ECD2610}" dt="2023-04-18T10:15:33.681" v="7483" actId="1076"/>
          <ac:spMkLst>
            <pc:docMk/>
            <pc:sldMk cId="2305056567" sldId="3686"/>
            <ac:spMk id="8" creationId="{342D672B-71DE-B6D0-F083-5B3A60108A00}"/>
          </ac:spMkLst>
        </pc:spChg>
      </pc:sldChg>
      <pc:sldChg chg="modSp add mod ord">
        <pc:chgData name="Scott Sink" userId="007532c1-63dd-4f29-9932-df3a9735f490" providerId="ADAL" clId="{9E3C8D41-9167-4835-BE54-6D463ECD2610}" dt="2023-04-18T10:15:59.136" v="7491" actId="14100"/>
        <pc:sldMkLst>
          <pc:docMk/>
          <pc:sldMk cId="355314602" sldId="3687"/>
        </pc:sldMkLst>
        <pc:spChg chg="mod">
          <ac:chgData name="Scott Sink" userId="007532c1-63dd-4f29-9932-df3a9735f490" providerId="ADAL" clId="{9E3C8D41-9167-4835-BE54-6D463ECD2610}" dt="2023-04-18T10:15:59.136" v="7491" actId="14100"/>
          <ac:spMkLst>
            <pc:docMk/>
            <pc:sldMk cId="355314602" sldId="3687"/>
            <ac:spMk id="8" creationId="{342D672B-71DE-B6D0-F083-5B3A60108A00}"/>
          </ac:spMkLst>
        </pc:spChg>
      </pc:sldChg>
      <pc:sldMasterChg chg="add addSldLayout">
        <pc:chgData name="Scott Sink" userId="007532c1-63dd-4f29-9932-df3a9735f490" providerId="ADAL" clId="{9E3C8D41-9167-4835-BE54-6D463ECD2610}" dt="2023-04-16T12:24:10.819" v="3722" actId="27028"/>
        <pc:sldMasterMkLst>
          <pc:docMk/>
          <pc:sldMasterMk cId="109284353" sldId="2147483648"/>
        </pc:sldMasterMkLst>
        <pc:sldLayoutChg chg="add">
          <pc:chgData name="Scott Sink" userId="007532c1-63dd-4f29-9932-df3a9735f490" providerId="ADAL" clId="{9E3C8D41-9167-4835-BE54-6D463ECD2610}" dt="2023-04-16T12:24:10.819" v="3722" actId="27028"/>
          <pc:sldLayoutMkLst>
            <pc:docMk/>
            <pc:sldMasterMk cId="109284353" sldId="2147483648"/>
            <pc:sldLayoutMk cId="0" sldId="2147497898"/>
          </pc:sldLayoutMkLst>
        </pc:sldLayoutChg>
      </pc:sldMasterChg>
      <pc:sldMasterChg chg="add del addSldLayout delSldLayout">
        <pc:chgData name="Scott Sink" userId="007532c1-63dd-4f29-9932-df3a9735f490" providerId="ADAL" clId="{9E3C8D41-9167-4835-BE54-6D463ECD2610}" dt="2023-04-16T12:23:52.694" v="3721" actId="27028"/>
        <pc:sldMasterMkLst>
          <pc:docMk/>
          <pc:sldMasterMk cId="791928117" sldId="2147483660"/>
        </pc:sldMasterMkLst>
        <pc:sldLayoutChg chg="add del">
          <pc:chgData name="Scott Sink" userId="007532c1-63dd-4f29-9932-df3a9735f490" providerId="ADAL" clId="{9E3C8D41-9167-4835-BE54-6D463ECD2610}" dt="2023-04-16T12:23:52.694" v="3721" actId="27028"/>
          <pc:sldLayoutMkLst>
            <pc:docMk/>
            <pc:sldMasterMk cId="791928117" sldId="2147483660"/>
            <pc:sldLayoutMk cId="3346467675" sldId="2147483662"/>
          </pc:sldLayoutMkLst>
        </pc:sldLayoutChg>
      </pc:sldMasterChg>
      <pc:sldMasterChg chg="modSldLayout">
        <pc:chgData name="Scott Sink" userId="007532c1-63dd-4f29-9932-df3a9735f490" providerId="ADAL" clId="{9E3C8D41-9167-4835-BE54-6D463ECD2610}" dt="2023-04-18T05:18:40.062" v="7035" actId="27028"/>
        <pc:sldMasterMkLst>
          <pc:docMk/>
          <pc:sldMasterMk cId="2012861398" sldId="2147483667"/>
        </pc:sldMasterMkLst>
        <pc:sldLayoutChg chg="replId">
          <pc:chgData name="Scott Sink" userId="007532c1-63dd-4f29-9932-df3a9735f490" providerId="ADAL" clId="{9E3C8D41-9167-4835-BE54-6D463ECD2610}" dt="2023-04-18T05:18:40.062" v="7035" actId="27028"/>
          <pc:sldLayoutMkLst>
            <pc:docMk/>
            <pc:sldMasterMk cId="2012861398" sldId="2147483667"/>
            <pc:sldLayoutMk cId="3413945563" sldId="2147497900"/>
          </pc:sldLayoutMkLst>
        </pc:sldLayoutChg>
      </pc:sldMasterChg>
      <pc:sldMasterChg chg="add addSldLayout">
        <pc:chgData name="Scott Sink" userId="007532c1-63dd-4f29-9932-df3a9735f490" providerId="ADAL" clId="{9E3C8D41-9167-4835-BE54-6D463ECD2610}" dt="2023-04-16T12:27:26.370" v="3731" actId="27028"/>
        <pc:sldMasterMkLst>
          <pc:docMk/>
          <pc:sldMasterMk cId="1310371896" sldId="2147483726"/>
        </pc:sldMasterMkLst>
        <pc:sldLayoutChg chg="add">
          <pc:chgData name="Scott Sink" userId="007532c1-63dd-4f29-9932-df3a9735f490" providerId="ADAL" clId="{9E3C8D41-9167-4835-BE54-6D463ECD2610}" dt="2023-04-16T12:27:26.370" v="3731" actId="27028"/>
          <pc:sldLayoutMkLst>
            <pc:docMk/>
            <pc:sldMasterMk cId="1310371896" sldId="2147483726"/>
            <pc:sldLayoutMk cId="613140667" sldId="2147483728"/>
          </pc:sldLayoutMkLst>
        </pc:sldLayoutChg>
      </pc:sldMasterChg>
      <pc:sldMasterChg chg="add addSldLayout">
        <pc:chgData name="Scott Sink" userId="007532c1-63dd-4f29-9932-df3a9735f490" providerId="ADAL" clId="{9E3C8D41-9167-4835-BE54-6D463ECD2610}" dt="2023-04-18T05:18:37.185" v="7033" actId="27028"/>
        <pc:sldMasterMkLst>
          <pc:docMk/>
          <pc:sldMasterMk cId="0" sldId="2147484151"/>
        </pc:sldMasterMkLst>
        <pc:sldLayoutChg chg="add">
          <pc:chgData name="Scott Sink" userId="007532c1-63dd-4f29-9932-df3a9735f490" providerId="ADAL" clId="{9E3C8D41-9167-4835-BE54-6D463ECD2610}" dt="2023-04-18T05:18:37.185" v="7033" actId="27028"/>
          <pc:sldLayoutMkLst>
            <pc:docMk/>
            <pc:sldMasterMk cId="0" sldId="2147484151"/>
            <pc:sldLayoutMk cId="3956399100" sldId="2147497324"/>
          </pc:sldLayoutMkLst>
        </pc:sldLayoutChg>
      </pc:sldMasterChg>
      <pc:sldMasterChg chg="add addSldLayout">
        <pc:chgData name="Scott Sink" userId="007532c1-63dd-4f29-9932-df3a9735f490" providerId="ADAL" clId="{9E3C8D41-9167-4835-BE54-6D463ECD2610}" dt="2023-04-16T13:52:24.310" v="4426" actId="27028"/>
        <pc:sldMasterMkLst>
          <pc:docMk/>
          <pc:sldMasterMk cId="0" sldId="2147484577"/>
        </pc:sldMasterMkLst>
        <pc:sldLayoutChg chg="add">
          <pc:chgData name="Scott Sink" userId="007532c1-63dd-4f29-9932-df3a9735f490" providerId="ADAL" clId="{9E3C8D41-9167-4835-BE54-6D463ECD2610}" dt="2023-04-16T13:52:16.760" v="4420" actId="27028"/>
          <pc:sldLayoutMkLst>
            <pc:docMk/>
            <pc:sldMasterMk cId="0" sldId="2147484577"/>
            <pc:sldLayoutMk cId="0" sldId="2147484578"/>
          </pc:sldLayoutMkLst>
        </pc:sldLayoutChg>
        <pc:sldLayoutChg chg="add">
          <pc:chgData name="Scott Sink" userId="007532c1-63dd-4f29-9932-df3a9735f490" providerId="ADAL" clId="{9E3C8D41-9167-4835-BE54-6D463ECD2610}" dt="2023-04-16T13:52:24.310" v="4426" actId="27028"/>
          <pc:sldLayoutMkLst>
            <pc:docMk/>
            <pc:sldMasterMk cId="0" sldId="2147484577"/>
            <pc:sldLayoutMk cId="3919479767" sldId="2147497880"/>
          </pc:sldLayoutMkLst>
        </pc:sldLayoutChg>
      </pc:sldMasterChg>
      <pc:sldMasterChg chg="del delSldLayout">
        <pc:chgData name="Scott Sink" userId="007532c1-63dd-4f29-9932-df3a9735f490" providerId="ADAL" clId="{9E3C8D41-9167-4835-BE54-6D463ECD2610}" dt="2023-04-18T05:20:35.368" v="7061" actId="47"/>
        <pc:sldMasterMkLst>
          <pc:docMk/>
          <pc:sldMasterMk cId="0" sldId="2147488890"/>
        </pc:sldMasterMkLst>
        <pc:sldLayoutChg chg="del">
          <pc:chgData name="Scott Sink" userId="007532c1-63dd-4f29-9932-df3a9735f490" providerId="ADAL" clId="{9E3C8D41-9167-4835-BE54-6D463ECD2610}" dt="2023-04-18T05:20:35.368" v="7061" actId="47"/>
          <pc:sldLayoutMkLst>
            <pc:docMk/>
            <pc:sldMasterMk cId="0" sldId="2147488890"/>
            <pc:sldLayoutMk cId="2845541440" sldId="2147488874"/>
          </pc:sldLayoutMkLst>
        </pc:sldLayoutChg>
      </pc:sldMasterChg>
      <pc:sldMasterChg chg="addSldLayout delSldLayout">
        <pc:chgData name="Scott Sink" userId="007532c1-63dd-4f29-9932-df3a9735f490" providerId="ADAL" clId="{9E3C8D41-9167-4835-BE54-6D463ECD2610}" dt="2023-04-16T10:25:54.065" v="3400" actId="27028"/>
        <pc:sldMasterMkLst>
          <pc:docMk/>
          <pc:sldMasterMk cId="0" sldId="2147489416"/>
        </pc:sldMasterMkLst>
        <pc:sldLayoutChg chg="add">
          <pc:chgData name="Scott Sink" userId="007532c1-63dd-4f29-9932-df3a9735f490" providerId="ADAL" clId="{9E3C8D41-9167-4835-BE54-6D463ECD2610}" dt="2023-04-16T10:25:54.065" v="3400" actId="27028"/>
          <pc:sldLayoutMkLst>
            <pc:docMk/>
            <pc:sldMasterMk cId="0" sldId="2147489416"/>
            <pc:sldLayoutMk cId="301823395" sldId="2147497864"/>
          </pc:sldLayoutMkLst>
        </pc:sldLayoutChg>
        <pc:sldLayoutChg chg="add del">
          <pc:chgData name="Scott Sink" userId="007532c1-63dd-4f29-9932-df3a9735f490" providerId="ADAL" clId="{9E3C8D41-9167-4835-BE54-6D463ECD2610}" dt="2023-04-16T10:09:18.178" v="3223" actId="47"/>
          <pc:sldLayoutMkLst>
            <pc:docMk/>
            <pc:sldMasterMk cId="0" sldId="2147489416"/>
            <pc:sldLayoutMk cId="2116951058" sldId="2147497864"/>
          </pc:sldLayoutMkLst>
        </pc:sldLayoutChg>
        <pc:sldLayoutChg chg="add">
          <pc:chgData name="Scott Sink" userId="007532c1-63dd-4f29-9932-df3a9735f490" providerId="ADAL" clId="{9E3C8D41-9167-4835-BE54-6D463ECD2610}" dt="2023-04-16T10:25:52.024" v="3398" actId="27028"/>
          <pc:sldLayoutMkLst>
            <pc:docMk/>
            <pc:sldMasterMk cId="0" sldId="2147489416"/>
            <pc:sldLayoutMk cId="3202479907" sldId="2147497865"/>
          </pc:sldLayoutMkLst>
        </pc:sldLayoutChg>
      </pc:sldMasterChg>
      <pc:sldMasterChg chg="del delSldLayout">
        <pc:chgData name="Scott Sink" userId="007532c1-63dd-4f29-9932-df3a9735f490" providerId="ADAL" clId="{9E3C8D41-9167-4835-BE54-6D463ECD2610}" dt="2023-04-18T05:20:18.129" v="7056" actId="47"/>
        <pc:sldMasterMkLst>
          <pc:docMk/>
          <pc:sldMasterMk cId="0" sldId="2147489543"/>
        </pc:sldMasterMkLst>
        <pc:sldLayoutChg chg="del">
          <pc:chgData name="Scott Sink" userId="007532c1-63dd-4f29-9932-df3a9735f490" providerId="ADAL" clId="{9E3C8D41-9167-4835-BE54-6D463ECD2610}" dt="2023-04-18T05:20:18.129" v="7056" actId="47"/>
          <pc:sldLayoutMkLst>
            <pc:docMk/>
            <pc:sldMasterMk cId="0" sldId="2147489543"/>
            <pc:sldLayoutMk cId="2497441060" sldId="2147489680"/>
          </pc:sldLayoutMkLst>
        </pc:sldLayoutChg>
        <pc:sldLayoutChg chg="del">
          <pc:chgData name="Scott Sink" userId="007532c1-63dd-4f29-9932-df3a9735f490" providerId="ADAL" clId="{9E3C8D41-9167-4835-BE54-6D463ECD2610}" dt="2023-04-18T05:20:02.634" v="7049" actId="47"/>
          <pc:sldLayoutMkLst>
            <pc:docMk/>
            <pc:sldMasterMk cId="0" sldId="2147489543"/>
            <pc:sldLayoutMk cId="603556810" sldId="2147489681"/>
          </pc:sldLayoutMkLst>
        </pc:sldLayoutChg>
      </pc:sldMasterChg>
      <pc:sldMasterChg chg="add addSldLayout">
        <pc:chgData name="Scott Sink" userId="007532c1-63dd-4f29-9932-df3a9735f490" providerId="ADAL" clId="{9E3C8D41-9167-4835-BE54-6D463ECD2610}" dt="2023-04-18T05:18:30.560" v="7031" actId="27028"/>
        <pc:sldMasterMkLst>
          <pc:docMk/>
          <pc:sldMasterMk cId="0" sldId="2147497787"/>
        </pc:sldMasterMkLst>
        <pc:sldLayoutChg chg="add">
          <pc:chgData name="Scott Sink" userId="007532c1-63dd-4f29-9932-df3a9735f490" providerId="ADAL" clId="{9E3C8D41-9167-4835-BE54-6D463ECD2610}" dt="2023-04-18T05:18:30.560" v="7031" actId="27028"/>
          <pc:sldLayoutMkLst>
            <pc:docMk/>
            <pc:sldMasterMk cId="0" sldId="2147497787"/>
            <pc:sldLayoutMk cId="1798974259" sldId="2147497743"/>
          </pc:sldLayoutMkLst>
        </pc:sldLayoutChg>
      </pc:sldMasterChg>
      <pc:sldMasterChg chg="add addSldLayout">
        <pc:chgData name="Scott Sink" userId="007532c1-63dd-4f29-9932-df3a9735f490" providerId="ADAL" clId="{9E3C8D41-9167-4835-BE54-6D463ECD2610}" dt="2023-04-18T05:17:54.276" v="7023" actId="27028"/>
        <pc:sldMasterMkLst>
          <pc:docMk/>
          <pc:sldMasterMk cId="0" sldId="2147497789"/>
        </pc:sldMasterMkLst>
        <pc:sldLayoutChg chg="add">
          <pc:chgData name="Scott Sink" userId="007532c1-63dd-4f29-9932-df3a9735f490" providerId="ADAL" clId="{9E3C8D41-9167-4835-BE54-6D463ECD2610}" dt="2023-04-18T05:17:54.276" v="7023" actId="27028"/>
          <pc:sldLayoutMkLst>
            <pc:docMk/>
            <pc:sldMasterMk cId="0" sldId="2147497789"/>
            <pc:sldLayoutMk cId="0" sldId="2147497790"/>
          </pc:sldLayoutMkLst>
        </pc:sldLayoutChg>
      </pc:sldMasterChg>
      <pc:sldMasterChg chg="del delSldLayout">
        <pc:chgData name="Scott Sink" userId="007532c1-63dd-4f29-9932-df3a9735f490" providerId="ADAL" clId="{9E3C8D41-9167-4835-BE54-6D463ECD2610}" dt="2023-04-18T05:20:16.801" v="7055" actId="47"/>
        <pc:sldMasterMkLst>
          <pc:docMk/>
          <pc:sldMasterMk cId="0" sldId="2147497793"/>
        </pc:sldMasterMkLst>
        <pc:sldLayoutChg chg="del">
          <pc:chgData name="Scott Sink" userId="007532c1-63dd-4f29-9932-df3a9735f490" providerId="ADAL" clId="{9E3C8D41-9167-4835-BE54-6D463ECD2610}" dt="2023-04-18T05:20:16.801" v="7055" actId="47"/>
          <pc:sldLayoutMkLst>
            <pc:docMk/>
            <pc:sldMasterMk cId="0" sldId="2147497793"/>
            <pc:sldLayoutMk cId="0" sldId="2147483663"/>
          </pc:sldLayoutMkLst>
        </pc:sldLayoutChg>
      </pc:sldMasterChg>
      <pc:sldMasterChg chg="add addSldLayout">
        <pc:chgData name="Scott Sink" userId="007532c1-63dd-4f29-9932-df3a9735f490" providerId="ADAL" clId="{9E3C8D41-9167-4835-BE54-6D463ECD2610}" dt="2023-04-10T10:32:01.404" v="0" actId="27028"/>
        <pc:sldMasterMkLst>
          <pc:docMk/>
          <pc:sldMasterMk cId="0" sldId="2147497813"/>
        </pc:sldMasterMkLst>
        <pc:sldLayoutChg chg="add">
          <pc:chgData name="Scott Sink" userId="007532c1-63dd-4f29-9932-df3a9735f490" providerId="ADAL" clId="{9E3C8D41-9167-4835-BE54-6D463ECD2610}" dt="2023-04-10T10:32:01.404" v="0" actId="27028"/>
          <pc:sldLayoutMkLst>
            <pc:docMk/>
            <pc:sldMasterMk cId="0" sldId="2147497813"/>
            <pc:sldLayoutMk cId="0" sldId="2147497895"/>
          </pc:sldLayoutMkLst>
        </pc:sldLayoutChg>
      </pc:sldMasterChg>
      <pc:sldMasterChg chg="add addSldLayout delSldLayout">
        <pc:chgData name="Scott Sink" userId="007532c1-63dd-4f29-9932-df3a9735f490" providerId="ADAL" clId="{9E3C8D41-9167-4835-BE54-6D463ECD2610}" dt="2023-04-18T05:18:01.853" v="7029" actId="27028"/>
        <pc:sldMasterMkLst>
          <pc:docMk/>
          <pc:sldMasterMk cId="109284353" sldId="2147497892"/>
        </pc:sldMasterMkLst>
        <pc:sldLayoutChg chg="add">
          <pc:chgData name="Scott Sink" userId="007532c1-63dd-4f29-9932-df3a9735f490" providerId="ADAL" clId="{9E3C8D41-9167-4835-BE54-6D463ECD2610}" dt="2023-04-18T05:18:01.853" v="7029" actId="27028"/>
          <pc:sldLayoutMkLst>
            <pc:docMk/>
            <pc:sldMasterMk cId="109284353" sldId="2147497892"/>
            <pc:sldLayoutMk cId="1412939370" sldId="2147497883"/>
          </pc:sldLayoutMkLst>
        </pc:sldLayoutChg>
        <pc:sldLayoutChg chg="add del">
          <pc:chgData name="Scott Sink" userId="007532c1-63dd-4f29-9932-df3a9735f490" providerId="ADAL" clId="{9E3C8D41-9167-4835-BE54-6D463ECD2610}" dt="2023-04-17T11:56:19.259" v="5989" actId="47"/>
          <pc:sldLayoutMkLst>
            <pc:docMk/>
            <pc:sldMasterMk cId="109284353" sldId="2147497892"/>
            <pc:sldLayoutMk cId="2050625499" sldId="2147497884"/>
          </pc:sldLayoutMkLst>
        </pc:sldLayoutChg>
        <pc:sldLayoutChg chg="add">
          <pc:chgData name="Scott Sink" userId="007532c1-63dd-4f29-9932-df3a9735f490" providerId="ADAL" clId="{9E3C8D41-9167-4835-BE54-6D463ECD2610}" dt="2023-04-10T10:32:04.049" v="2" actId="27028"/>
          <pc:sldLayoutMkLst>
            <pc:docMk/>
            <pc:sldMasterMk cId="109284353" sldId="2147497892"/>
            <pc:sldLayoutMk cId="4104728505" sldId="2147497897"/>
          </pc:sldLayoutMkLst>
        </pc:sldLayoutChg>
        <pc:sldLayoutChg chg="add">
          <pc:chgData name="Scott Sink" userId="007532c1-63dd-4f29-9932-df3a9735f490" providerId="ADAL" clId="{9E3C8D41-9167-4835-BE54-6D463ECD2610}" dt="2023-04-16T12:50:03.177" v="4088" actId="27028"/>
          <pc:sldLayoutMkLst>
            <pc:docMk/>
            <pc:sldMasterMk cId="109284353" sldId="2147497892"/>
            <pc:sldLayoutMk cId="2587822317" sldId="2147497899"/>
          </pc:sldLayoutMkLst>
        </pc:sldLayoutChg>
      </pc:sldMasterChg>
      <pc:sldMasterChg chg="add addSldLayout">
        <pc:chgData name="Scott Sink" userId="007532c1-63dd-4f29-9932-df3a9735f490" providerId="ADAL" clId="{9E3C8D41-9167-4835-BE54-6D463ECD2610}" dt="2023-04-18T05:33:26.023" v="7240" actId="27028"/>
        <pc:sldMasterMkLst>
          <pc:docMk/>
          <pc:sldMasterMk cId="1255074819" sldId="2147497898"/>
        </pc:sldMasterMkLst>
        <pc:sldLayoutChg chg="add">
          <pc:chgData name="Scott Sink" userId="007532c1-63dd-4f29-9932-df3a9735f490" providerId="ADAL" clId="{9E3C8D41-9167-4835-BE54-6D463ECD2610}" dt="2023-04-18T05:18:40.062" v="7035" actId="27028"/>
          <pc:sldLayoutMkLst>
            <pc:docMk/>
            <pc:sldMasterMk cId="1255074819" sldId="2147497898"/>
            <pc:sldLayoutMk cId="625359071" sldId="2147483682"/>
          </pc:sldLayoutMkLst>
        </pc:sldLayoutChg>
        <pc:sldLayoutChg chg="add">
          <pc:chgData name="Scott Sink" userId="007532c1-63dd-4f29-9932-df3a9735f490" providerId="ADAL" clId="{9E3C8D41-9167-4835-BE54-6D463ECD2610}" dt="2023-04-18T05:18:42.387" v="7037" actId="27028"/>
          <pc:sldLayoutMkLst>
            <pc:docMk/>
            <pc:sldMasterMk cId="1255074819" sldId="2147497898"/>
            <pc:sldLayoutMk cId="1489461621" sldId="2147483684"/>
          </pc:sldLayoutMkLst>
        </pc:sldLayoutChg>
        <pc:sldLayoutChg chg="add">
          <pc:chgData name="Scott Sink" userId="007532c1-63dd-4f29-9932-df3a9735f490" providerId="ADAL" clId="{9E3C8D41-9167-4835-BE54-6D463ECD2610}" dt="2023-04-18T05:33:26.023" v="7240" actId="27028"/>
          <pc:sldLayoutMkLst>
            <pc:docMk/>
            <pc:sldMasterMk cId="1255074819" sldId="2147497898"/>
            <pc:sldLayoutMk cId="2977040303" sldId="2147497890"/>
          </pc:sldLayoutMkLst>
        </pc:sldLayoutChg>
      </pc:sldMasterChg>
      <pc:sldMasterChg chg="add addSldLayout">
        <pc:chgData name="Scott Sink" userId="007532c1-63dd-4f29-9932-df3a9735f490" providerId="ADAL" clId="{9E3C8D41-9167-4835-BE54-6D463ECD2610}" dt="2023-04-16T13:05:37.502" v="4262" actId="27028"/>
        <pc:sldMasterMkLst>
          <pc:docMk/>
          <pc:sldMasterMk cId="0" sldId="2147497899"/>
        </pc:sldMasterMkLst>
        <pc:sldLayoutChg chg="add">
          <pc:chgData name="Scott Sink" userId="007532c1-63dd-4f29-9932-df3a9735f490" providerId="ADAL" clId="{9E3C8D41-9167-4835-BE54-6D463ECD2610}" dt="2023-04-16T13:05:37.502" v="4262" actId="27028"/>
          <pc:sldLayoutMkLst>
            <pc:docMk/>
            <pc:sldMasterMk cId="0" sldId="2147497899"/>
            <pc:sldLayoutMk cId="4141184889" sldId="2147488886"/>
          </pc:sldLayoutMkLst>
        </pc:sldLayoutChg>
      </pc:sldMasterChg>
    </pc:docChg>
  </pc:docChgLst>
  <pc:docChgLst>
    <pc:chgData name="Scott Sink" userId="007532c1-63dd-4f29-9932-df3a9735f490" providerId="ADAL" clId="{FC83FA74-9C6C-494A-B4A7-F24DFB5E5CF4}"/>
    <pc:docChg chg="undo custSel addSld delSld modSld sldOrd addMainMaster delMainMaster modMainMaster">
      <pc:chgData name="Scott Sink" userId="007532c1-63dd-4f29-9932-df3a9735f490" providerId="ADAL" clId="{FC83FA74-9C6C-494A-B4A7-F24DFB5E5CF4}" dt="2023-06-13T14:40:12.659" v="14488"/>
      <pc:docMkLst>
        <pc:docMk/>
      </pc:docMkLst>
      <pc:sldChg chg="del ord">
        <pc:chgData name="Scott Sink" userId="007532c1-63dd-4f29-9932-df3a9735f490" providerId="ADAL" clId="{FC83FA74-9C6C-494A-B4A7-F24DFB5E5CF4}" dt="2023-06-13T06:43:05.549" v="14103" actId="47"/>
        <pc:sldMkLst>
          <pc:docMk/>
          <pc:sldMk cId="0" sldId="972"/>
        </pc:sldMkLst>
      </pc:sldChg>
      <pc:sldChg chg="delSp modSp del mod ord">
        <pc:chgData name="Scott Sink" userId="007532c1-63dd-4f29-9932-df3a9735f490" providerId="ADAL" clId="{FC83FA74-9C6C-494A-B4A7-F24DFB5E5CF4}" dt="2023-06-13T05:53:24.516" v="12294" actId="47"/>
        <pc:sldMkLst>
          <pc:docMk/>
          <pc:sldMk cId="0" sldId="973"/>
        </pc:sldMkLst>
        <pc:spChg chg="mod">
          <ac:chgData name="Scott Sink" userId="007532c1-63dd-4f29-9932-df3a9735f490" providerId="ADAL" clId="{FC83FA74-9C6C-494A-B4A7-F24DFB5E5CF4}" dt="2023-06-13T05:52:06.513" v="12200" actId="20577"/>
          <ac:spMkLst>
            <pc:docMk/>
            <pc:sldMk cId="0" sldId="973"/>
            <ac:spMk id="45058" creationId="{4465FBE2-0328-415A-96EF-0C541784F181}"/>
          </ac:spMkLst>
        </pc:spChg>
        <pc:picChg chg="del">
          <ac:chgData name="Scott Sink" userId="007532c1-63dd-4f29-9932-df3a9735f490" providerId="ADAL" clId="{FC83FA74-9C6C-494A-B4A7-F24DFB5E5CF4}" dt="2023-06-13T05:52:34" v="12205" actId="21"/>
          <ac:picMkLst>
            <pc:docMk/>
            <pc:sldMk cId="0" sldId="973"/>
            <ac:picMk id="45060" creationId="{8399B911-44B0-4541-AEA0-F5389C20503D}"/>
          </ac:picMkLst>
        </pc:picChg>
      </pc:sldChg>
      <pc:sldChg chg="del">
        <pc:chgData name="Scott Sink" userId="007532c1-63dd-4f29-9932-df3a9735f490" providerId="ADAL" clId="{FC83FA74-9C6C-494A-B4A7-F24DFB5E5CF4}" dt="2023-06-13T06:42:39.003" v="14098" actId="47"/>
        <pc:sldMkLst>
          <pc:docMk/>
          <pc:sldMk cId="0" sldId="974"/>
        </pc:sldMkLst>
      </pc:sldChg>
      <pc:sldChg chg="del ord">
        <pc:chgData name="Scott Sink" userId="007532c1-63dd-4f29-9932-df3a9735f490" providerId="ADAL" clId="{FC83FA74-9C6C-494A-B4A7-F24DFB5E5CF4}" dt="2023-06-13T06:43:02.868" v="14101" actId="47"/>
        <pc:sldMkLst>
          <pc:docMk/>
          <pc:sldMk cId="1191895561" sldId="1073"/>
        </pc:sldMkLst>
      </pc:sldChg>
      <pc:sldChg chg="del">
        <pc:chgData name="Scott Sink" userId="007532c1-63dd-4f29-9932-df3a9735f490" providerId="ADAL" clId="{FC83FA74-9C6C-494A-B4A7-F24DFB5E5CF4}" dt="2023-06-13T06:42:40.131" v="14099" actId="47"/>
        <pc:sldMkLst>
          <pc:docMk/>
          <pc:sldMk cId="46988055" sldId="3614"/>
        </pc:sldMkLst>
      </pc:sldChg>
      <pc:sldChg chg="addSp delSp modSp mod">
        <pc:chgData name="Scott Sink" userId="007532c1-63dd-4f29-9932-df3a9735f490" providerId="ADAL" clId="{FC83FA74-9C6C-494A-B4A7-F24DFB5E5CF4}" dt="2023-06-10T07:42:13.014" v="293" actId="1076"/>
        <pc:sldMkLst>
          <pc:docMk/>
          <pc:sldMk cId="3858186052" sldId="3617"/>
        </pc:sldMkLst>
        <pc:spChg chg="mod">
          <ac:chgData name="Scott Sink" userId="007532c1-63dd-4f29-9932-df3a9735f490" providerId="ADAL" clId="{FC83FA74-9C6C-494A-B4A7-F24DFB5E5CF4}" dt="2023-06-10T07:40:31.327" v="195" actId="20577"/>
          <ac:spMkLst>
            <pc:docMk/>
            <pc:sldMk cId="3858186052" sldId="3617"/>
            <ac:spMk id="3" creationId="{5CB5E778-EB37-08BC-8A65-E0A5BEF24F5F}"/>
          </ac:spMkLst>
        </pc:spChg>
        <pc:spChg chg="mod">
          <ac:chgData name="Scott Sink" userId="007532c1-63dd-4f29-9932-df3a9735f490" providerId="ADAL" clId="{FC83FA74-9C6C-494A-B4A7-F24DFB5E5CF4}" dt="2023-06-10T07:39:40.621" v="178" actId="20577"/>
          <ac:spMkLst>
            <pc:docMk/>
            <pc:sldMk cId="3858186052" sldId="3617"/>
            <ac:spMk id="6" creationId="{C5018F96-B3E6-1C7C-503A-A6964F5B4827}"/>
          </ac:spMkLst>
        </pc:spChg>
        <pc:spChg chg="mod">
          <ac:chgData name="Scott Sink" userId="007532c1-63dd-4f29-9932-df3a9735f490" providerId="ADAL" clId="{FC83FA74-9C6C-494A-B4A7-F24DFB5E5CF4}" dt="2023-06-10T07:41:06.208" v="277" actId="20577"/>
          <ac:spMkLst>
            <pc:docMk/>
            <pc:sldMk cId="3858186052" sldId="3617"/>
            <ac:spMk id="10" creationId="{B47D77AC-10E5-F7CA-1821-CA4162CCE788}"/>
          </ac:spMkLst>
        </pc:spChg>
        <pc:spChg chg="mod">
          <ac:chgData name="Scott Sink" userId="007532c1-63dd-4f29-9932-df3a9735f490" providerId="ADAL" clId="{FC83FA74-9C6C-494A-B4A7-F24DFB5E5CF4}" dt="2023-06-10T07:39:27.900" v="173" actId="1076"/>
          <ac:spMkLst>
            <pc:docMk/>
            <pc:sldMk cId="3858186052" sldId="3617"/>
            <ac:spMk id="13" creationId="{D541DAC8-5E3F-B4ED-FB9B-45E6479E107E}"/>
          </ac:spMkLst>
        </pc:spChg>
        <pc:spChg chg="mod">
          <ac:chgData name="Scott Sink" userId="007532c1-63dd-4f29-9932-df3a9735f490" providerId="ADAL" clId="{FC83FA74-9C6C-494A-B4A7-F24DFB5E5CF4}" dt="2023-06-10T07:41:59.198" v="289" actId="14100"/>
          <ac:spMkLst>
            <pc:docMk/>
            <pc:sldMk cId="3858186052" sldId="3617"/>
            <ac:spMk id="22" creationId="{693B6C1D-D021-4EC9-AC66-7E12E6EAE67F}"/>
          </ac:spMkLst>
        </pc:spChg>
        <pc:spChg chg="del mod">
          <ac:chgData name="Scott Sink" userId="007532c1-63dd-4f29-9932-df3a9735f490" providerId="ADAL" clId="{FC83FA74-9C6C-494A-B4A7-F24DFB5E5CF4}" dt="2023-06-04T06:45:09.678" v="2" actId="478"/>
          <ac:spMkLst>
            <pc:docMk/>
            <pc:sldMk cId="3858186052" sldId="3617"/>
            <ac:spMk id="23" creationId="{4EA0D366-CE29-FBA8-36F6-A526371ECC4E}"/>
          </ac:spMkLst>
        </pc:spChg>
        <pc:spChg chg="mod">
          <ac:chgData name="Scott Sink" userId="007532c1-63dd-4f29-9932-df3a9735f490" providerId="ADAL" clId="{FC83FA74-9C6C-494A-B4A7-F24DFB5E5CF4}" dt="2023-06-10T07:42:13.014" v="293" actId="1076"/>
          <ac:spMkLst>
            <pc:docMk/>
            <pc:sldMk cId="3858186052" sldId="3617"/>
            <ac:spMk id="28" creationId="{BA4CEFC9-7EA0-4E3D-8519-C99F7A7D0F70}"/>
          </ac:spMkLst>
        </pc:spChg>
        <pc:picChg chg="mod">
          <ac:chgData name="Scott Sink" userId="007532c1-63dd-4f29-9932-df3a9735f490" providerId="ADAL" clId="{FC83FA74-9C6C-494A-B4A7-F24DFB5E5CF4}" dt="2023-06-10T07:42:10.386" v="292" actId="1076"/>
          <ac:picMkLst>
            <pc:docMk/>
            <pc:sldMk cId="3858186052" sldId="3617"/>
            <ac:picMk id="5" creationId="{AFD8D61E-987F-4EB6-88A2-2F19E77A4CB7}"/>
          </ac:picMkLst>
        </pc:picChg>
        <pc:picChg chg="add mod">
          <ac:chgData name="Scott Sink" userId="007532c1-63dd-4f29-9932-df3a9735f490" providerId="ADAL" clId="{FC83FA74-9C6C-494A-B4A7-F24DFB5E5CF4}" dt="2023-06-10T07:40:21.542" v="183" actId="1076"/>
          <ac:picMkLst>
            <pc:docMk/>
            <pc:sldMk cId="3858186052" sldId="3617"/>
            <ac:picMk id="9" creationId="{46755140-BD3E-5A69-9863-586A1EC8CADF}"/>
          </ac:picMkLst>
        </pc:picChg>
        <pc:picChg chg="del">
          <ac:chgData name="Scott Sink" userId="007532c1-63dd-4f29-9932-df3a9735f490" providerId="ADAL" clId="{FC83FA74-9C6C-494A-B4A7-F24DFB5E5CF4}" dt="2023-06-04T06:45:06.865" v="0" actId="478"/>
          <ac:picMkLst>
            <pc:docMk/>
            <pc:sldMk cId="3858186052" sldId="3617"/>
            <ac:picMk id="11" creationId="{C2D9B6FE-0BF0-6B49-D43F-2ABAEC69EEC2}"/>
          </ac:picMkLst>
        </pc:picChg>
      </pc:sldChg>
      <pc:sldChg chg="modSp mod">
        <pc:chgData name="Scott Sink" userId="007532c1-63dd-4f29-9932-df3a9735f490" providerId="ADAL" clId="{FC83FA74-9C6C-494A-B4A7-F24DFB5E5CF4}" dt="2023-06-10T07:47:45.275" v="410" actId="20577"/>
        <pc:sldMkLst>
          <pc:docMk/>
          <pc:sldMk cId="3939640140" sldId="3618"/>
        </pc:sldMkLst>
        <pc:spChg chg="mod">
          <ac:chgData name="Scott Sink" userId="007532c1-63dd-4f29-9932-df3a9735f490" providerId="ADAL" clId="{FC83FA74-9C6C-494A-B4A7-F24DFB5E5CF4}" dt="2023-06-10T07:47:45.275" v="410" actId="20577"/>
          <ac:spMkLst>
            <pc:docMk/>
            <pc:sldMk cId="3939640140" sldId="3618"/>
            <ac:spMk id="3" creationId="{A5A8E09D-F143-AC8C-4127-0ABEDD96C64B}"/>
          </ac:spMkLst>
        </pc:spChg>
      </pc:sldChg>
      <pc:sldChg chg="del ord">
        <pc:chgData name="Scott Sink" userId="007532c1-63dd-4f29-9932-df3a9735f490" providerId="ADAL" clId="{FC83FA74-9C6C-494A-B4A7-F24DFB5E5CF4}" dt="2023-06-13T06:43:04.278" v="14102" actId="47"/>
        <pc:sldMkLst>
          <pc:docMk/>
          <pc:sldMk cId="3121620661" sldId="3622"/>
        </pc:sldMkLst>
      </pc:sldChg>
      <pc:sldChg chg="modSp mod ord">
        <pc:chgData name="Scott Sink" userId="007532c1-63dd-4f29-9932-df3a9735f490" providerId="ADAL" clId="{FC83FA74-9C6C-494A-B4A7-F24DFB5E5CF4}" dt="2023-06-13T05:57:08.884" v="12492" actId="14100"/>
        <pc:sldMkLst>
          <pc:docMk/>
          <pc:sldMk cId="3272150657" sldId="3646"/>
        </pc:sldMkLst>
        <pc:spChg chg="mod">
          <ac:chgData name="Scott Sink" userId="007532c1-63dd-4f29-9932-df3a9735f490" providerId="ADAL" clId="{FC83FA74-9C6C-494A-B4A7-F24DFB5E5CF4}" dt="2023-06-13T05:57:01.416" v="12491" actId="20577"/>
          <ac:spMkLst>
            <pc:docMk/>
            <pc:sldMk cId="3272150657" sldId="3646"/>
            <ac:spMk id="2" creationId="{307FFB44-A94F-8F15-9B33-A981E0FC333B}"/>
          </ac:spMkLst>
        </pc:spChg>
        <pc:spChg chg="mod">
          <ac:chgData name="Scott Sink" userId="007532c1-63dd-4f29-9932-df3a9735f490" providerId="ADAL" clId="{FC83FA74-9C6C-494A-B4A7-F24DFB5E5CF4}" dt="2023-06-13T05:57:08.884" v="12492" actId="14100"/>
          <ac:spMkLst>
            <pc:docMk/>
            <pc:sldMk cId="3272150657" sldId="3646"/>
            <ac:spMk id="12" creationId="{0A87C8FE-DFD1-09AE-1DCD-F065915F346F}"/>
          </ac:spMkLst>
        </pc:spChg>
      </pc:sldChg>
      <pc:sldChg chg="ord">
        <pc:chgData name="Scott Sink" userId="007532c1-63dd-4f29-9932-df3a9735f490" providerId="ADAL" clId="{FC83FA74-9C6C-494A-B4A7-F24DFB5E5CF4}" dt="2023-06-13T10:39:16.218" v="14144"/>
        <pc:sldMkLst>
          <pc:docMk/>
          <pc:sldMk cId="185777116" sldId="3648"/>
        </pc:sldMkLst>
      </pc:sldChg>
      <pc:sldChg chg="modSp mod ord">
        <pc:chgData name="Scott Sink" userId="007532c1-63dd-4f29-9932-df3a9735f490" providerId="ADAL" clId="{FC83FA74-9C6C-494A-B4A7-F24DFB5E5CF4}" dt="2023-06-12T11:49:55.898" v="11427" actId="5793"/>
        <pc:sldMkLst>
          <pc:docMk/>
          <pc:sldMk cId="3083674499" sldId="3683"/>
        </pc:sldMkLst>
        <pc:spChg chg="mod">
          <ac:chgData name="Scott Sink" userId="007532c1-63dd-4f29-9932-df3a9735f490" providerId="ADAL" clId="{FC83FA74-9C6C-494A-B4A7-F24DFB5E5CF4}" dt="2023-06-12T11:49:55.898" v="11427" actId="5793"/>
          <ac:spMkLst>
            <pc:docMk/>
            <pc:sldMk cId="3083674499" sldId="3683"/>
            <ac:spMk id="9" creationId="{5ACBF105-37A5-4EFF-9212-3A4FB813785F}"/>
          </ac:spMkLst>
        </pc:spChg>
      </pc:sldChg>
      <pc:sldChg chg="del ord">
        <pc:chgData name="Scott Sink" userId="007532c1-63dd-4f29-9932-df3a9735f490" providerId="ADAL" clId="{FC83FA74-9C6C-494A-B4A7-F24DFB5E5CF4}" dt="2023-06-13T06:43:00.483" v="14100" actId="47"/>
        <pc:sldMkLst>
          <pc:docMk/>
          <pc:sldMk cId="528263807" sldId="3688"/>
        </pc:sldMkLst>
      </pc:sldChg>
      <pc:sldChg chg="del">
        <pc:chgData name="Scott Sink" userId="007532c1-63dd-4f29-9932-df3a9735f490" providerId="ADAL" clId="{FC83FA74-9C6C-494A-B4A7-F24DFB5E5CF4}" dt="2023-06-04T06:45:12.800" v="3" actId="47"/>
        <pc:sldMkLst>
          <pc:docMk/>
          <pc:sldMk cId="2799686858" sldId="3689"/>
        </pc:sldMkLst>
      </pc:sldChg>
      <pc:sldChg chg="addSp delSp modSp new mod ord">
        <pc:chgData name="Scott Sink" userId="007532c1-63dd-4f29-9932-df3a9735f490" providerId="ADAL" clId="{FC83FA74-9C6C-494A-B4A7-F24DFB5E5CF4}" dt="2023-06-12T11:18:09.943" v="11409" actId="404"/>
        <pc:sldMkLst>
          <pc:docMk/>
          <pc:sldMk cId="3239035081" sldId="3689"/>
        </pc:sldMkLst>
        <pc:spChg chg="mod">
          <ac:chgData name="Scott Sink" userId="007532c1-63dd-4f29-9932-df3a9735f490" providerId="ADAL" clId="{FC83FA74-9C6C-494A-B4A7-F24DFB5E5CF4}" dt="2023-06-12T11:16:59.528" v="11317" actId="20577"/>
          <ac:spMkLst>
            <pc:docMk/>
            <pc:sldMk cId="3239035081" sldId="3689"/>
            <ac:spMk id="2" creationId="{51BC7226-FA40-6FDF-B9C2-D8E2D7FBF4F4}"/>
          </ac:spMkLst>
        </pc:spChg>
        <pc:spChg chg="add mod">
          <ac:chgData name="Scott Sink" userId="007532c1-63dd-4f29-9932-df3a9735f490" providerId="ADAL" clId="{FC83FA74-9C6C-494A-B4A7-F24DFB5E5CF4}" dt="2023-06-12T11:17:30.645" v="11364" actId="20577"/>
          <ac:spMkLst>
            <pc:docMk/>
            <pc:sldMk cId="3239035081" sldId="3689"/>
            <ac:spMk id="4" creationId="{09954609-305F-1F26-9A82-FF42A3A19734}"/>
          </ac:spMkLst>
        </pc:spChg>
        <pc:spChg chg="del">
          <ac:chgData name="Scott Sink" userId="007532c1-63dd-4f29-9932-df3a9735f490" providerId="ADAL" clId="{FC83FA74-9C6C-494A-B4A7-F24DFB5E5CF4}" dt="2023-06-04T06:45:53.189" v="35" actId="931"/>
          <ac:spMkLst>
            <pc:docMk/>
            <pc:sldMk cId="3239035081" sldId="3689"/>
            <ac:spMk id="4" creationId="{754E1813-235D-6837-30CE-7D471B31D23C}"/>
          </ac:spMkLst>
        </pc:spChg>
        <pc:spChg chg="add mod">
          <ac:chgData name="Scott Sink" userId="007532c1-63dd-4f29-9932-df3a9735f490" providerId="ADAL" clId="{FC83FA74-9C6C-494A-B4A7-F24DFB5E5CF4}" dt="2023-06-12T11:18:09.943" v="11409" actId="404"/>
          <ac:spMkLst>
            <pc:docMk/>
            <pc:sldMk cId="3239035081" sldId="3689"/>
            <ac:spMk id="6" creationId="{BE358754-8903-933D-22ED-991C79BA17FD}"/>
          </ac:spMkLst>
        </pc:spChg>
        <pc:spChg chg="del">
          <ac:chgData name="Scott Sink" userId="007532c1-63dd-4f29-9932-df3a9735f490" providerId="ADAL" clId="{FC83FA74-9C6C-494A-B4A7-F24DFB5E5CF4}" dt="2023-06-04T06:46:05.271" v="38"/>
          <ac:spMkLst>
            <pc:docMk/>
            <pc:sldMk cId="3239035081" sldId="3689"/>
            <ac:spMk id="6" creationId="{E790B407-A561-979D-4C69-2E06419C8AD5}"/>
          </ac:spMkLst>
        </pc:spChg>
        <pc:spChg chg="add del mod">
          <ac:chgData name="Scott Sink" userId="007532c1-63dd-4f29-9932-df3a9735f490" providerId="ADAL" clId="{FC83FA74-9C6C-494A-B4A7-F24DFB5E5CF4}" dt="2023-06-12T08:41:43.510" v="7616" actId="478"/>
          <ac:spMkLst>
            <pc:docMk/>
            <pc:sldMk cId="3239035081" sldId="3689"/>
            <ac:spMk id="13" creationId="{376A4D56-AC5C-AD27-A7A1-3AAFD98FA7D3}"/>
          </ac:spMkLst>
        </pc:spChg>
        <pc:picChg chg="add del mod">
          <ac:chgData name="Scott Sink" userId="007532c1-63dd-4f29-9932-df3a9735f490" providerId="ADAL" clId="{FC83FA74-9C6C-494A-B4A7-F24DFB5E5CF4}" dt="2023-06-04T06:46:06.980" v="41" actId="478"/>
          <ac:picMkLst>
            <pc:docMk/>
            <pc:sldMk cId="3239035081" sldId="3689"/>
            <ac:picMk id="9" creationId="{F1783B9C-B072-D053-87E6-05AB52E723AC}"/>
          </ac:picMkLst>
        </pc:picChg>
        <pc:picChg chg="add mod">
          <ac:chgData name="Scott Sink" userId="007532c1-63dd-4f29-9932-df3a9735f490" providerId="ADAL" clId="{FC83FA74-9C6C-494A-B4A7-F24DFB5E5CF4}" dt="2023-06-04T06:46:13.066" v="43" actId="14100"/>
          <ac:picMkLst>
            <pc:docMk/>
            <pc:sldMk cId="3239035081" sldId="3689"/>
            <ac:picMk id="11" creationId="{57198A1D-9D3D-9A70-113A-8E7EA935C702}"/>
          </ac:picMkLst>
        </pc:picChg>
      </pc:sldChg>
      <pc:sldChg chg="addSp delSp modSp new mod">
        <pc:chgData name="Scott Sink" userId="007532c1-63dd-4f29-9932-df3a9735f490" providerId="ADAL" clId="{FC83FA74-9C6C-494A-B4A7-F24DFB5E5CF4}" dt="2023-06-05T09:12:45.522" v="64" actId="1076"/>
        <pc:sldMkLst>
          <pc:docMk/>
          <pc:sldMk cId="165917156" sldId="3690"/>
        </pc:sldMkLst>
        <pc:spChg chg="del">
          <ac:chgData name="Scott Sink" userId="007532c1-63dd-4f29-9932-df3a9735f490" providerId="ADAL" clId="{FC83FA74-9C6C-494A-B4A7-F24DFB5E5CF4}" dt="2023-06-04T06:46:36.605" v="45"/>
          <ac:spMkLst>
            <pc:docMk/>
            <pc:sldMk cId="165917156" sldId="3690"/>
            <ac:spMk id="4" creationId="{B25BE7DF-AE3A-1F84-6203-254633B33B71}"/>
          </ac:spMkLst>
        </pc:spChg>
        <pc:spChg chg="del">
          <ac:chgData name="Scott Sink" userId="007532c1-63dd-4f29-9932-df3a9735f490" providerId="ADAL" clId="{FC83FA74-9C6C-494A-B4A7-F24DFB5E5CF4}" dt="2023-06-04T06:47:13.635" v="48"/>
          <ac:spMkLst>
            <pc:docMk/>
            <pc:sldMk cId="165917156" sldId="3690"/>
            <ac:spMk id="6" creationId="{5CD28640-8613-79A8-4B82-008C0F399820}"/>
          </ac:spMkLst>
        </pc:spChg>
        <pc:spChg chg="add mod">
          <ac:chgData name="Scott Sink" userId="007532c1-63dd-4f29-9932-df3a9735f490" providerId="ADAL" clId="{FC83FA74-9C6C-494A-B4A7-F24DFB5E5CF4}" dt="2023-06-05T09:06:25.038" v="62" actId="1076"/>
          <ac:spMkLst>
            <pc:docMk/>
            <pc:sldMk cId="165917156" sldId="3690"/>
            <ac:spMk id="17" creationId="{AF54C705-2F22-7980-8F85-99BC3F98D44E}"/>
          </ac:spMkLst>
        </pc:spChg>
        <pc:spChg chg="add mod">
          <ac:chgData name="Scott Sink" userId="007532c1-63dd-4f29-9932-df3a9735f490" providerId="ADAL" clId="{FC83FA74-9C6C-494A-B4A7-F24DFB5E5CF4}" dt="2023-06-05T09:12:45.522" v="64" actId="1076"/>
          <ac:spMkLst>
            <pc:docMk/>
            <pc:sldMk cId="165917156" sldId="3690"/>
            <ac:spMk id="19" creationId="{7DBC992F-4E1E-CA1D-DDE7-36F110DAACA9}"/>
          </ac:spMkLst>
        </pc:spChg>
        <pc:picChg chg="add mod">
          <ac:chgData name="Scott Sink" userId="007532c1-63dd-4f29-9932-df3a9735f490" providerId="ADAL" clId="{FC83FA74-9C6C-494A-B4A7-F24DFB5E5CF4}" dt="2023-06-04T06:46:37.142" v="47" actId="962"/>
          <ac:picMkLst>
            <pc:docMk/>
            <pc:sldMk cId="165917156" sldId="3690"/>
            <ac:picMk id="9" creationId="{B7AAF705-91DB-3550-029A-D61FF20CFD20}"/>
          </ac:picMkLst>
        </pc:picChg>
        <pc:picChg chg="add mod">
          <ac:chgData name="Scott Sink" userId="007532c1-63dd-4f29-9932-df3a9735f490" providerId="ADAL" clId="{FC83FA74-9C6C-494A-B4A7-F24DFB5E5CF4}" dt="2023-06-04T06:47:14.517" v="50" actId="962"/>
          <ac:picMkLst>
            <pc:docMk/>
            <pc:sldMk cId="165917156" sldId="3690"/>
            <ac:picMk id="11" creationId="{DECA096E-25C6-8197-8570-10C70153B48D}"/>
          </ac:picMkLst>
        </pc:picChg>
        <pc:picChg chg="add mod">
          <ac:chgData name="Scott Sink" userId="007532c1-63dd-4f29-9932-df3a9735f490" providerId="ADAL" clId="{FC83FA74-9C6C-494A-B4A7-F24DFB5E5CF4}" dt="2023-06-04T06:48:17.854" v="55" actId="1076"/>
          <ac:picMkLst>
            <pc:docMk/>
            <pc:sldMk cId="165917156" sldId="3690"/>
            <ac:picMk id="13" creationId="{9FCD2854-7961-CD97-D448-1D02168E3608}"/>
          </ac:picMkLst>
        </pc:picChg>
        <pc:picChg chg="add mod">
          <ac:chgData name="Scott Sink" userId="007532c1-63dd-4f29-9932-df3a9735f490" providerId="ADAL" clId="{FC83FA74-9C6C-494A-B4A7-F24DFB5E5CF4}" dt="2023-06-04T06:48:26.053" v="60" actId="1076"/>
          <ac:picMkLst>
            <pc:docMk/>
            <pc:sldMk cId="165917156" sldId="3690"/>
            <ac:picMk id="15" creationId="{E85F4013-B6D1-16B7-718E-E1FB13144A4A}"/>
          </ac:picMkLst>
        </pc:picChg>
      </pc:sldChg>
      <pc:sldChg chg="del">
        <pc:chgData name="Scott Sink" userId="007532c1-63dd-4f29-9932-df3a9735f490" providerId="ADAL" clId="{FC83FA74-9C6C-494A-B4A7-F24DFB5E5CF4}" dt="2023-06-04T06:45:13.515" v="4" actId="47"/>
        <pc:sldMkLst>
          <pc:docMk/>
          <pc:sldMk cId="968880051" sldId="3690"/>
        </pc:sldMkLst>
      </pc:sldChg>
      <pc:sldChg chg="modSp add mod ord">
        <pc:chgData name="Scott Sink" userId="007532c1-63dd-4f29-9932-df3a9735f490" providerId="ADAL" clId="{FC83FA74-9C6C-494A-B4A7-F24DFB5E5CF4}" dt="2023-06-13T05:51:11.638" v="12187"/>
        <pc:sldMkLst>
          <pc:docMk/>
          <pc:sldMk cId="1025966195" sldId="3691"/>
        </pc:sldMkLst>
        <pc:spChg chg="mod">
          <ac:chgData name="Scott Sink" userId="007532c1-63dd-4f29-9932-df3a9735f490" providerId="ADAL" clId="{FC83FA74-9C6C-494A-B4A7-F24DFB5E5CF4}" dt="2023-06-10T12:02:25.447" v="1213" actId="20577"/>
          <ac:spMkLst>
            <pc:docMk/>
            <pc:sldMk cId="1025966195" sldId="3691"/>
            <ac:spMk id="2" creationId="{F57C5E07-DB5B-55F2-6F01-6B61AC3D8F04}"/>
          </ac:spMkLst>
        </pc:spChg>
        <pc:spChg chg="mod">
          <ac:chgData name="Scott Sink" userId="007532c1-63dd-4f29-9932-df3a9735f490" providerId="ADAL" clId="{FC83FA74-9C6C-494A-B4A7-F24DFB5E5CF4}" dt="2023-06-10T12:03:13.176" v="1294" actId="20577"/>
          <ac:spMkLst>
            <pc:docMk/>
            <pc:sldMk cId="1025966195" sldId="3691"/>
            <ac:spMk id="3" creationId="{D52268DB-61E4-27E1-5D29-0E7DE9B5711D}"/>
          </ac:spMkLst>
        </pc:spChg>
      </pc:sldChg>
      <pc:sldChg chg="del">
        <pc:chgData name="Scott Sink" userId="007532c1-63dd-4f29-9932-df3a9735f490" providerId="ADAL" clId="{FC83FA74-9C6C-494A-B4A7-F24DFB5E5CF4}" dt="2023-06-04T06:45:14.166" v="5" actId="47"/>
        <pc:sldMkLst>
          <pc:docMk/>
          <pc:sldMk cId="3499263705" sldId="3691"/>
        </pc:sldMkLst>
      </pc:sldChg>
      <pc:sldChg chg="del">
        <pc:chgData name="Scott Sink" userId="007532c1-63dd-4f29-9932-df3a9735f490" providerId="ADAL" clId="{FC83FA74-9C6C-494A-B4A7-F24DFB5E5CF4}" dt="2023-06-04T06:45:15.669" v="6" actId="47"/>
        <pc:sldMkLst>
          <pc:docMk/>
          <pc:sldMk cId="1139212183" sldId="3692"/>
        </pc:sldMkLst>
      </pc:sldChg>
      <pc:sldChg chg="modSp add mod">
        <pc:chgData name="Scott Sink" userId="007532c1-63dd-4f29-9932-df3a9735f490" providerId="ADAL" clId="{FC83FA74-9C6C-494A-B4A7-F24DFB5E5CF4}" dt="2023-06-11T09:53:29.122" v="5450" actId="20577"/>
        <pc:sldMkLst>
          <pc:docMk/>
          <pc:sldMk cId="1776187233" sldId="3692"/>
        </pc:sldMkLst>
        <pc:spChg chg="mod">
          <ac:chgData name="Scott Sink" userId="007532c1-63dd-4f29-9932-df3a9735f490" providerId="ADAL" clId="{FC83FA74-9C6C-494A-B4A7-F24DFB5E5CF4}" dt="2023-06-11T09:53:29.122" v="5450" actId="20577"/>
          <ac:spMkLst>
            <pc:docMk/>
            <pc:sldMk cId="1776187233" sldId="3692"/>
            <ac:spMk id="6" creationId="{00000000-0000-0000-0000-000000000000}"/>
          </ac:spMkLst>
        </pc:spChg>
      </pc:sldChg>
      <pc:sldChg chg="del">
        <pc:chgData name="Scott Sink" userId="007532c1-63dd-4f29-9932-df3a9735f490" providerId="ADAL" clId="{FC83FA74-9C6C-494A-B4A7-F24DFB5E5CF4}" dt="2023-06-04T06:45:16.341" v="7" actId="47"/>
        <pc:sldMkLst>
          <pc:docMk/>
          <pc:sldMk cId="2386247978" sldId="3693"/>
        </pc:sldMkLst>
      </pc:sldChg>
      <pc:sldChg chg="add ord">
        <pc:chgData name="Scott Sink" userId="007532c1-63dd-4f29-9932-df3a9735f490" providerId="ADAL" clId="{FC83FA74-9C6C-494A-B4A7-F24DFB5E5CF4}" dt="2023-06-11T09:53:53.026" v="5452"/>
        <pc:sldMkLst>
          <pc:docMk/>
          <pc:sldMk cId="4059728307" sldId="3693"/>
        </pc:sldMkLst>
      </pc:sldChg>
      <pc:sldChg chg="addSp delSp modSp add mod ord">
        <pc:chgData name="Scott Sink" userId="007532c1-63dd-4f29-9932-df3a9735f490" providerId="ADAL" clId="{FC83FA74-9C6C-494A-B4A7-F24DFB5E5CF4}" dt="2023-06-11T09:57:56.280" v="5666" actId="403"/>
        <pc:sldMkLst>
          <pc:docMk/>
          <pc:sldMk cId="615662507" sldId="3694"/>
        </pc:sldMkLst>
        <pc:spChg chg="mod">
          <ac:chgData name="Scott Sink" userId="007532c1-63dd-4f29-9932-df3a9735f490" providerId="ADAL" clId="{FC83FA74-9C6C-494A-B4A7-F24DFB5E5CF4}" dt="2023-06-10T12:05:02.182" v="1306" actId="1076"/>
          <ac:spMkLst>
            <pc:docMk/>
            <pc:sldMk cId="615662507" sldId="3694"/>
            <ac:spMk id="2" creationId="{4B0AD04C-4B7B-4B25-B277-A9A3C13DB393}"/>
          </ac:spMkLst>
        </pc:spChg>
        <pc:spChg chg="add mod">
          <ac:chgData name="Scott Sink" userId="007532c1-63dd-4f29-9932-df3a9735f490" providerId="ADAL" clId="{FC83FA74-9C6C-494A-B4A7-F24DFB5E5CF4}" dt="2023-06-11T09:57:39.748" v="5662" actId="1076"/>
          <ac:spMkLst>
            <pc:docMk/>
            <pc:sldMk cId="615662507" sldId="3694"/>
            <ac:spMk id="3" creationId="{1D009894-6A29-FBD7-CD3E-4B2DD2796C80}"/>
          </ac:spMkLst>
        </pc:spChg>
        <pc:spChg chg="del mod">
          <ac:chgData name="Scott Sink" userId="007532c1-63dd-4f29-9932-df3a9735f490" providerId="ADAL" clId="{FC83FA74-9C6C-494A-B4A7-F24DFB5E5CF4}" dt="2023-06-10T12:06:10.727" v="1330" actId="478"/>
          <ac:spMkLst>
            <pc:docMk/>
            <pc:sldMk cId="615662507" sldId="3694"/>
            <ac:spMk id="5" creationId="{91AF4710-E7ED-4C43-93C6-634B527FF067}"/>
          </ac:spMkLst>
        </pc:spChg>
        <pc:spChg chg="add mod">
          <ac:chgData name="Scott Sink" userId="007532c1-63dd-4f29-9932-df3a9735f490" providerId="ADAL" clId="{FC83FA74-9C6C-494A-B4A7-F24DFB5E5CF4}" dt="2023-06-11T09:57:49.438" v="5664" actId="14100"/>
          <ac:spMkLst>
            <pc:docMk/>
            <pc:sldMk cId="615662507" sldId="3694"/>
            <ac:spMk id="6" creationId="{85F26717-2DAE-38F0-47C5-BB563A2ACE38}"/>
          </ac:spMkLst>
        </pc:spChg>
        <pc:spChg chg="add mod">
          <ac:chgData name="Scott Sink" userId="007532c1-63dd-4f29-9932-df3a9735f490" providerId="ADAL" clId="{FC83FA74-9C6C-494A-B4A7-F24DFB5E5CF4}" dt="2023-06-11T09:57:51.902" v="5665" actId="1076"/>
          <ac:spMkLst>
            <pc:docMk/>
            <pc:sldMk cId="615662507" sldId="3694"/>
            <ac:spMk id="8" creationId="{C6689DEB-6AEA-D1B4-4F86-EF891B555EBB}"/>
          </ac:spMkLst>
        </pc:spChg>
        <pc:spChg chg="add mod">
          <ac:chgData name="Scott Sink" userId="007532c1-63dd-4f29-9932-df3a9735f490" providerId="ADAL" clId="{FC83FA74-9C6C-494A-B4A7-F24DFB5E5CF4}" dt="2023-06-11T09:57:56.280" v="5666" actId="403"/>
          <ac:spMkLst>
            <pc:docMk/>
            <pc:sldMk cId="615662507" sldId="3694"/>
            <ac:spMk id="10" creationId="{0C5C9E40-71DE-F966-AA4D-52F39823F324}"/>
          </ac:spMkLst>
        </pc:spChg>
        <pc:spChg chg="add mod">
          <ac:chgData name="Scott Sink" userId="007532c1-63dd-4f29-9932-df3a9735f490" providerId="ADAL" clId="{FC83FA74-9C6C-494A-B4A7-F24DFB5E5CF4}" dt="2023-06-11T09:57:22.035" v="5658" actId="1076"/>
          <ac:spMkLst>
            <pc:docMk/>
            <pc:sldMk cId="615662507" sldId="3694"/>
            <ac:spMk id="11" creationId="{A38028F8-AAE6-9909-6EE6-B2FCA93768F9}"/>
          </ac:spMkLst>
        </pc:spChg>
        <pc:picChg chg="del mod">
          <ac:chgData name="Scott Sink" userId="007532c1-63dd-4f29-9932-df3a9735f490" providerId="ADAL" clId="{FC83FA74-9C6C-494A-B4A7-F24DFB5E5CF4}" dt="2023-06-10T12:06:09.909" v="1329" actId="478"/>
          <ac:picMkLst>
            <pc:docMk/>
            <pc:sldMk cId="615662507" sldId="3694"/>
            <ac:picMk id="4" creationId="{65E46EC6-C6B7-438D-A30A-EB95E873D14E}"/>
          </ac:picMkLst>
        </pc:picChg>
        <pc:picChg chg="mod">
          <ac:chgData name="Scott Sink" userId="007532c1-63dd-4f29-9932-df3a9735f490" providerId="ADAL" clId="{FC83FA74-9C6C-494A-B4A7-F24DFB5E5CF4}" dt="2023-06-10T12:06:53.893" v="1391" actId="1076"/>
          <ac:picMkLst>
            <pc:docMk/>
            <pc:sldMk cId="615662507" sldId="3694"/>
            <ac:picMk id="9" creationId="{A36FBAF7-2856-4E8A-B0E6-21935FB26597}"/>
          </ac:picMkLst>
        </pc:picChg>
      </pc:sldChg>
      <pc:sldChg chg="del">
        <pc:chgData name="Scott Sink" userId="007532c1-63dd-4f29-9932-df3a9735f490" providerId="ADAL" clId="{FC83FA74-9C6C-494A-B4A7-F24DFB5E5CF4}" dt="2023-06-04T06:45:17.828" v="8" actId="47"/>
        <pc:sldMkLst>
          <pc:docMk/>
          <pc:sldMk cId="1983506577" sldId="3694"/>
        </pc:sldMkLst>
      </pc:sldChg>
      <pc:sldChg chg="modSp add mod ord">
        <pc:chgData name="Scott Sink" userId="007532c1-63dd-4f29-9932-df3a9735f490" providerId="ADAL" clId="{FC83FA74-9C6C-494A-B4A7-F24DFB5E5CF4}" dt="2023-06-13T05:54:12.683" v="12325" actId="113"/>
        <pc:sldMkLst>
          <pc:docMk/>
          <pc:sldMk cId="2105768483" sldId="3695"/>
        </pc:sldMkLst>
        <pc:spChg chg="mod">
          <ac:chgData name="Scott Sink" userId="007532c1-63dd-4f29-9932-df3a9735f490" providerId="ADAL" clId="{FC83FA74-9C6C-494A-B4A7-F24DFB5E5CF4}" dt="2023-06-13T05:54:12.683" v="12325" actId="113"/>
          <ac:spMkLst>
            <pc:docMk/>
            <pc:sldMk cId="2105768483" sldId="3695"/>
            <ac:spMk id="4" creationId="{88C7629B-6886-495B-B516-48C88532A936}"/>
          </ac:spMkLst>
        </pc:spChg>
      </pc:sldChg>
      <pc:sldChg chg="del">
        <pc:chgData name="Scott Sink" userId="007532c1-63dd-4f29-9932-df3a9735f490" providerId="ADAL" clId="{FC83FA74-9C6C-494A-B4A7-F24DFB5E5CF4}" dt="2023-06-04T06:45:18.579" v="9" actId="47"/>
        <pc:sldMkLst>
          <pc:docMk/>
          <pc:sldMk cId="3009266004" sldId="3695"/>
        </pc:sldMkLst>
      </pc:sldChg>
      <pc:sldChg chg="addSp modSp add mod ord">
        <pc:chgData name="Scott Sink" userId="007532c1-63dd-4f29-9932-df3a9735f490" providerId="ADAL" clId="{FC83FA74-9C6C-494A-B4A7-F24DFB5E5CF4}" dt="2023-06-13T05:55:57.282" v="12410" actId="1076"/>
        <pc:sldMkLst>
          <pc:docMk/>
          <pc:sldMk cId="1958007175" sldId="3696"/>
        </pc:sldMkLst>
        <pc:spChg chg="add mod">
          <ac:chgData name="Scott Sink" userId="007532c1-63dd-4f29-9932-df3a9735f490" providerId="ADAL" clId="{FC83FA74-9C6C-494A-B4A7-F24DFB5E5CF4}" dt="2023-06-13T05:55:48.968" v="12408" actId="113"/>
          <ac:spMkLst>
            <pc:docMk/>
            <pc:sldMk cId="1958007175" sldId="3696"/>
            <ac:spMk id="2" creationId="{8FD6A44B-B8E9-D747-2AAB-3F5EE35A92C8}"/>
          </ac:spMkLst>
        </pc:spChg>
        <pc:spChg chg="mod">
          <ac:chgData name="Scott Sink" userId="007532c1-63dd-4f29-9932-df3a9735f490" providerId="ADAL" clId="{FC83FA74-9C6C-494A-B4A7-F24DFB5E5CF4}" dt="2023-06-13T05:55:55.420" v="12409" actId="1076"/>
          <ac:spMkLst>
            <pc:docMk/>
            <pc:sldMk cId="1958007175" sldId="3696"/>
            <ac:spMk id="31747" creationId="{00000000-0000-0000-0000-000000000000}"/>
          </ac:spMkLst>
        </pc:spChg>
        <pc:spChg chg="mod">
          <ac:chgData name="Scott Sink" userId="007532c1-63dd-4f29-9932-df3a9735f490" providerId="ADAL" clId="{FC83FA74-9C6C-494A-B4A7-F24DFB5E5CF4}" dt="2023-06-13T05:55:19.861" v="12400" actId="1076"/>
          <ac:spMkLst>
            <pc:docMk/>
            <pc:sldMk cId="1958007175" sldId="3696"/>
            <ac:spMk id="31748" creationId="{00000000-0000-0000-0000-000000000000}"/>
          </ac:spMkLst>
        </pc:spChg>
        <pc:spChg chg="mod">
          <ac:chgData name="Scott Sink" userId="007532c1-63dd-4f29-9932-df3a9735f490" providerId="ADAL" clId="{FC83FA74-9C6C-494A-B4A7-F24DFB5E5CF4}" dt="2023-06-13T05:55:24.613" v="12402" actId="1076"/>
          <ac:spMkLst>
            <pc:docMk/>
            <pc:sldMk cId="1958007175" sldId="3696"/>
            <ac:spMk id="31749" creationId="{00000000-0000-0000-0000-000000000000}"/>
          </ac:spMkLst>
        </pc:spChg>
        <pc:spChg chg="mod">
          <ac:chgData name="Scott Sink" userId="007532c1-63dd-4f29-9932-df3a9735f490" providerId="ADAL" clId="{FC83FA74-9C6C-494A-B4A7-F24DFB5E5CF4}" dt="2023-06-13T05:55:57.282" v="12410" actId="1076"/>
          <ac:spMkLst>
            <pc:docMk/>
            <pc:sldMk cId="1958007175" sldId="3696"/>
            <ac:spMk id="31750" creationId="{00000000-0000-0000-0000-000000000000}"/>
          </ac:spMkLst>
        </pc:spChg>
        <pc:spChg chg="mod">
          <ac:chgData name="Scott Sink" userId="007532c1-63dd-4f29-9932-df3a9735f490" providerId="ADAL" clId="{FC83FA74-9C6C-494A-B4A7-F24DFB5E5CF4}" dt="2023-06-13T05:55:21.968" v="12401" actId="1076"/>
          <ac:spMkLst>
            <pc:docMk/>
            <pc:sldMk cId="1958007175" sldId="3696"/>
            <ac:spMk id="31751" creationId="{00000000-0000-0000-0000-000000000000}"/>
          </ac:spMkLst>
        </pc:spChg>
        <pc:spChg chg="mod">
          <ac:chgData name="Scott Sink" userId="007532c1-63dd-4f29-9932-df3a9735f490" providerId="ADAL" clId="{FC83FA74-9C6C-494A-B4A7-F24DFB5E5CF4}" dt="2023-06-13T05:55:26.949" v="12403" actId="1076"/>
          <ac:spMkLst>
            <pc:docMk/>
            <pc:sldMk cId="1958007175" sldId="3696"/>
            <ac:spMk id="31752" creationId="{00000000-0000-0000-0000-000000000000}"/>
          </ac:spMkLst>
        </pc:spChg>
        <pc:spChg chg="mod">
          <ac:chgData name="Scott Sink" userId="007532c1-63dd-4f29-9932-df3a9735f490" providerId="ADAL" clId="{FC83FA74-9C6C-494A-B4A7-F24DFB5E5CF4}" dt="2023-06-13T05:54:35.265" v="12326" actId="1076"/>
          <ac:spMkLst>
            <pc:docMk/>
            <pc:sldMk cId="1958007175" sldId="3696"/>
            <ac:spMk id="393225" creationId="{00000000-0000-0000-0000-000000000000}"/>
          </ac:spMkLst>
        </pc:spChg>
      </pc:sldChg>
      <pc:sldChg chg="del">
        <pc:chgData name="Scott Sink" userId="007532c1-63dd-4f29-9932-df3a9735f490" providerId="ADAL" clId="{FC83FA74-9C6C-494A-B4A7-F24DFB5E5CF4}" dt="2023-06-04T06:45:19.233" v="10" actId="47"/>
        <pc:sldMkLst>
          <pc:docMk/>
          <pc:sldMk cId="2565760412" sldId="3696"/>
        </pc:sldMkLst>
      </pc:sldChg>
      <pc:sldChg chg="modSp add mod ord">
        <pc:chgData name="Scott Sink" userId="007532c1-63dd-4f29-9932-df3a9735f490" providerId="ADAL" clId="{FC83FA74-9C6C-494A-B4A7-F24DFB5E5CF4}" dt="2023-06-13T10:39:01.505" v="14142" actId="20577"/>
        <pc:sldMkLst>
          <pc:docMk/>
          <pc:sldMk cId="2283736091" sldId="3697"/>
        </pc:sldMkLst>
        <pc:spChg chg="mod">
          <ac:chgData name="Scott Sink" userId="007532c1-63dd-4f29-9932-df3a9735f490" providerId="ADAL" clId="{FC83FA74-9C6C-494A-B4A7-F24DFB5E5CF4}" dt="2023-06-13T10:39:01.505" v="14142" actId="20577"/>
          <ac:spMkLst>
            <pc:docMk/>
            <pc:sldMk cId="2283736091" sldId="3697"/>
            <ac:spMk id="107522" creationId="{00000000-0000-0000-0000-000000000000}"/>
          </ac:spMkLst>
        </pc:spChg>
      </pc:sldChg>
      <pc:sldChg chg="del">
        <pc:chgData name="Scott Sink" userId="007532c1-63dd-4f29-9932-df3a9735f490" providerId="ADAL" clId="{FC83FA74-9C6C-494A-B4A7-F24DFB5E5CF4}" dt="2023-06-04T06:45:19.783" v="11" actId="47"/>
        <pc:sldMkLst>
          <pc:docMk/>
          <pc:sldMk cId="3111554149" sldId="3697"/>
        </pc:sldMkLst>
      </pc:sldChg>
      <pc:sldChg chg="add">
        <pc:chgData name="Scott Sink" userId="007532c1-63dd-4f29-9932-df3a9735f490" providerId="ADAL" clId="{FC83FA74-9C6C-494A-B4A7-F24DFB5E5CF4}" dt="2023-06-10T07:59:49.033" v="1045"/>
        <pc:sldMkLst>
          <pc:docMk/>
          <pc:sldMk cId="1233541946" sldId="3698"/>
        </pc:sldMkLst>
      </pc:sldChg>
      <pc:sldChg chg="del">
        <pc:chgData name="Scott Sink" userId="007532c1-63dd-4f29-9932-df3a9735f490" providerId="ADAL" clId="{FC83FA74-9C6C-494A-B4A7-F24DFB5E5CF4}" dt="2023-06-04T06:45:20.183" v="12" actId="47"/>
        <pc:sldMkLst>
          <pc:docMk/>
          <pc:sldMk cId="2504360793" sldId="3698"/>
        </pc:sldMkLst>
      </pc:sldChg>
      <pc:sldChg chg="addSp modSp add mod">
        <pc:chgData name="Scott Sink" userId="007532c1-63dd-4f29-9932-df3a9735f490" providerId="ADAL" clId="{FC83FA74-9C6C-494A-B4A7-F24DFB5E5CF4}" dt="2023-06-13T06:01:34.300" v="12686" actId="20577"/>
        <pc:sldMkLst>
          <pc:docMk/>
          <pc:sldMk cId="3014079232" sldId="3699"/>
        </pc:sldMkLst>
        <pc:spChg chg="mod">
          <ac:chgData name="Scott Sink" userId="007532c1-63dd-4f29-9932-df3a9735f490" providerId="ADAL" clId="{FC83FA74-9C6C-494A-B4A7-F24DFB5E5CF4}" dt="2023-06-13T06:01:34.300" v="12686" actId="20577"/>
          <ac:spMkLst>
            <pc:docMk/>
            <pc:sldMk cId="3014079232" sldId="3699"/>
            <ac:spMk id="2" creationId="{091E8D24-BAFC-4024-B299-7304F3093BD0}"/>
          </ac:spMkLst>
        </pc:spChg>
        <pc:spChg chg="mod">
          <ac:chgData name="Scott Sink" userId="007532c1-63dd-4f29-9932-df3a9735f490" providerId="ADAL" clId="{FC83FA74-9C6C-494A-B4A7-F24DFB5E5CF4}" dt="2023-06-10T13:03:45.561" v="4066" actId="20577"/>
          <ac:spMkLst>
            <pc:docMk/>
            <pc:sldMk cId="3014079232" sldId="3699"/>
            <ac:spMk id="68610" creationId="{E590AAF4-5EC4-4395-B45C-55DFFA5E7CAD}"/>
          </ac:spMkLst>
        </pc:spChg>
        <pc:cxnChg chg="add mod">
          <ac:chgData name="Scott Sink" userId="007532c1-63dd-4f29-9932-df3a9735f490" providerId="ADAL" clId="{FC83FA74-9C6C-494A-B4A7-F24DFB5E5CF4}" dt="2023-06-13T06:00:37.085" v="12570" actId="13822"/>
          <ac:cxnSpMkLst>
            <pc:docMk/>
            <pc:sldMk cId="3014079232" sldId="3699"/>
            <ac:cxnSpMk id="4" creationId="{46A156D2-3375-C52C-B00B-31F5D40A89E0}"/>
          </ac:cxnSpMkLst>
        </pc:cxnChg>
      </pc:sldChg>
      <pc:sldChg chg="del">
        <pc:chgData name="Scott Sink" userId="007532c1-63dd-4f29-9932-df3a9735f490" providerId="ADAL" clId="{FC83FA74-9C6C-494A-B4A7-F24DFB5E5CF4}" dt="2023-06-04T06:45:20.542" v="13" actId="47"/>
        <pc:sldMkLst>
          <pc:docMk/>
          <pc:sldMk cId="3766282110" sldId="3699"/>
        </pc:sldMkLst>
      </pc:sldChg>
      <pc:sldChg chg="del">
        <pc:chgData name="Scott Sink" userId="007532c1-63dd-4f29-9932-df3a9735f490" providerId="ADAL" clId="{FC83FA74-9C6C-494A-B4A7-F24DFB5E5CF4}" dt="2023-06-04T06:45:20.917" v="14" actId="47"/>
        <pc:sldMkLst>
          <pc:docMk/>
          <pc:sldMk cId="1589728508" sldId="3700"/>
        </pc:sldMkLst>
      </pc:sldChg>
      <pc:sldChg chg="modSp add del mod">
        <pc:chgData name="Scott Sink" userId="007532c1-63dd-4f29-9932-df3a9735f490" providerId="ADAL" clId="{FC83FA74-9C6C-494A-B4A7-F24DFB5E5CF4}" dt="2023-06-12T11:11:02.093" v="11015" actId="47"/>
        <pc:sldMkLst>
          <pc:docMk/>
          <pc:sldMk cId="3583780884" sldId="3700"/>
        </pc:sldMkLst>
        <pc:spChg chg="mod">
          <ac:chgData name="Scott Sink" userId="007532c1-63dd-4f29-9932-df3a9735f490" providerId="ADAL" clId="{FC83FA74-9C6C-494A-B4A7-F24DFB5E5CF4}" dt="2023-06-12T09:06:53.130" v="8240" actId="403"/>
          <ac:spMkLst>
            <pc:docMk/>
            <pc:sldMk cId="3583780884" sldId="3700"/>
            <ac:spMk id="2" creationId="{125B1023-5534-4B60-A6EE-8708C2DCA048}"/>
          </ac:spMkLst>
        </pc:spChg>
        <pc:spChg chg="mod">
          <ac:chgData name="Scott Sink" userId="007532c1-63dd-4f29-9932-df3a9735f490" providerId="ADAL" clId="{FC83FA74-9C6C-494A-B4A7-F24DFB5E5CF4}" dt="2023-06-10T13:04:30.026" v="4146" actId="5793"/>
          <ac:spMkLst>
            <pc:docMk/>
            <pc:sldMk cId="3583780884" sldId="3700"/>
            <ac:spMk id="68610" creationId="{E590AAF4-5EC4-4395-B45C-55DFFA5E7CAD}"/>
          </ac:spMkLst>
        </pc:spChg>
      </pc:sldChg>
      <pc:sldChg chg="addSp modSp add mod ord">
        <pc:chgData name="Scott Sink" userId="007532c1-63dd-4f29-9932-df3a9735f490" providerId="ADAL" clId="{FC83FA74-9C6C-494A-B4A7-F24DFB5E5CF4}" dt="2023-06-13T13:56:27.351" v="14486" actId="14100"/>
        <pc:sldMkLst>
          <pc:docMk/>
          <pc:sldMk cId="246832215" sldId="3701"/>
        </pc:sldMkLst>
        <pc:spChg chg="add mod">
          <ac:chgData name="Scott Sink" userId="007532c1-63dd-4f29-9932-df3a9735f490" providerId="ADAL" clId="{FC83FA74-9C6C-494A-B4A7-F24DFB5E5CF4}" dt="2023-06-13T13:56:27.351" v="14486" actId="14100"/>
          <ac:spMkLst>
            <pc:docMk/>
            <pc:sldMk cId="246832215" sldId="3701"/>
            <ac:spMk id="3" creationId="{1CA5C6ED-4FBE-1082-089F-8DE5DD85D7E3}"/>
          </ac:spMkLst>
        </pc:spChg>
        <pc:spChg chg="mod">
          <ac:chgData name="Scott Sink" userId="007532c1-63dd-4f29-9932-df3a9735f490" providerId="ADAL" clId="{FC83FA74-9C6C-494A-B4A7-F24DFB5E5CF4}" dt="2023-06-12T09:35:01.981" v="9458" actId="20577"/>
          <ac:spMkLst>
            <pc:docMk/>
            <pc:sldMk cId="246832215" sldId="3701"/>
            <ac:spMk id="68610" creationId="{E590AAF4-5EC4-4395-B45C-55DFFA5E7CAD}"/>
          </ac:spMkLst>
        </pc:spChg>
      </pc:sldChg>
      <pc:sldChg chg="del">
        <pc:chgData name="Scott Sink" userId="007532c1-63dd-4f29-9932-df3a9735f490" providerId="ADAL" clId="{FC83FA74-9C6C-494A-B4A7-F24DFB5E5CF4}" dt="2023-06-04T06:45:21.300" v="15" actId="47"/>
        <pc:sldMkLst>
          <pc:docMk/>
          <pc:sldMk cId="896845260" sldId="3701"/>
        </pc:sldMkLst>
      </pc:sldChg>
      <pc:sldChg chg="del">
        <pc:chgData name="Scott Sink" userId="007532c1-63dd-4f29-9932-df3a9735f490" providerId="ADAL" clId="{FC83FA74-9C6C-494A-B4A7-F24DFB5E5CF4}" dt="2023-06-04T06:45:21.616" v="16" actId="47"/>
        <pc:sldMkLst>
          <pc:docMk/>
          <pc:sldMk cId="1088496890" sldId="3702"/>
        </pc:sldMkLst>
      </pc:sldChg>
      <pc:sldChg chg="addSp modSp add mod ord">
        <pc:chgData name="Scott Sink" userId="007532c1-63dd-4f29-9932-df3a9735f490" providerId="ADAL" clId="{FC83FA74-9C6C-494A-B4A7-F24DFB5E5CF4}" dt="2023-06-13T06:19:23.248" v="12910"/>
        <pc:sldMkLst>
          <pc:docMk/>
          <pc:sldMk cId="2221338391" sldId="3702"/>
        </pc:sldMkLst>
        <pc:spChg chg="mod">
          <ac:chgData name="Scott Sink" userId="007532c1-63dd-4f29-9932-df3a9735f490" providerId="ADAL" clId="{FC83FA74-9C6C-494A-B4A7-F24DFB5E5CF4}" dt="2023-06-12T09:46:26.001" v="9508" actId="14100"/>
          <ac:spMkLst>
            <pc:docMk/>
            <pc:sldMk cId="2221338391" sldId="3702"/>
            <ac:spMk id="2" creationId="{00000000-0000-0000-0000-000000000000}"/>
          </ac:spMkLst>
        </pc:spChg>
        <pc:spChg chg="mod">
          <ac:chgData name="Scott Sink" userId="007532c1-63dd-4f29-9932-df3a9735f490" providerId="ADAL" clId="{FC83FA74-9C6C-494A-B4A7-F24DFB5E5CF4}" dt="2023-06-12T09:46:39.879" v="9513" actId="403"/>
          <ac:spMkLst>
            <pc:docMk/>
            <pc:sldMk cId="2221338391" sldId="3702"/>
            <ac:spMk id="3" creationId="{C1764838-A0B5-4E58-B7BF-C4C82F4AC87C}"/>
          </ac:spMkLst>
        </pc:spChg>
        <pc:spChg chg="add mod">
          <ac:chgData name="Scott Sink" userId="007532c1-63dd-4f29-9932-df3a9735f490" providerId="ADAL" clId="{FC83FA74-9C6C-494A-B4A7-F24DFB5E5CF4}" dt="2023-06-11T20:26:55.222" v="7431" actId="207"/>
          <ac:spMkLst>
            <pc:docMk/>
            <pc:sldMk cId="2221338391" sldId="3702"/>
            <ac:spMk id="5" creationId="{7364D400-C3D8-A538-A517-DC599D21774A}"/>
          </ac:spMkLst>
        </pc:spChg>
        <pc:picChg chg="mod">
          <ac:chgData name="Scott Sink" userId="007532c1-63dd-4f29-9932-df3a9735f490" providerId="ADAL" clId="{FC83FA74-9C6C-494A-B4A7-F24DFB5E5CF4}" dt="2023-06-11T20:26:01.764" v="7388" actId="1076"/>
          <ac:picMkLst>
            <pc:docMk/>
            <pc:sldMk cId="2221338391" sldId="3702"/>
            <ac:picMk id="30722" creationId="{00000000-0000-0000-0000-000000000000}"/>
          </ac:picMkLst>
        </pc:picChg>
      </pc:sldChg>
      <pc:sldChg chg="add del">
        <pc:chgData name="Scott Sink" userId="007532c1-63dd-4f29-9932-df3a9735f490" providerId="ADAL" clId="{FC83FA74-9C6C-494A-B4A7-F24DFB5E5CF4}" dt="2023-06-12T09:59:16.010" v="10056" actId="47"/>
        <pc:sldMkLst>
          <pc:docMk/>
          <pc:sldMk cId="2008903850" sldId="3703"/>
        </pc:sldMkLst>
      </pc:sldChg>
      <pc:sldChg chg="del">
        <pc:chgData name="Scott Sink" userId="007532c1-63dd-4f29-9932-df3a9735f490" providerId="ADAL" clId="{FC83FA74-9C6C-494A-B4A7-F24DFB5E5CF4}" dt="2023-06-04T06:45:21.887" v="17" actId="47"/>
        <pc:sldMkLst>
          <pc:docMk/>
          <pc:sldMk cId="3899950260" sldId="3703"/>
        </pc:sldMkLst>
      </pc:sldChg>
      <pc:sldChg chg="del">
        <pc:chgData name="Scott Sink" userId="007532c1-63dd-4f29-9932-df3a9735f490" providerId="ADAL" clId="{FC83FA74-9C6C-494A-B4A7-F24DFB5E5CF4}" dt="2023-06-04T06:45:22.192" v="18" actId="47"/>
        <pc:sldMkLst>
          <pc:docMk/>
          <pc:sldMk cId="3990148524" sldId="3704"/>
        </pc:sldMkLst>
      </pc:sldChg>
      <pc:sldChg chg="add del">
        <pc:chgData name="Scott Sink" userId="007532c1-63dd-4f29-9932-df3a9735f490" providerId="ADAL" clId="{FC83FA74-9C6C-494A-B4A7-F24DFB5E5CF4}" dt="2023-06-10T14:55:37.150" v="4914" actId="47"/>
        <pc:sldMkLst>
          <pc:docMk/>
          <pc:sldMk cId="4050323458" sldId="3704"/>
        </pc:sldMkLst>
      </pc:sldChg>
      <pc:sldChg chg="del">
        <pc:chgData name="Scott Sink" userId="007532c1-63dd-4f29-9932-df3a9735f490" providerId="ADAL" clId="{FC83FA74-9C6C-494A-B4A7-F24DFB5E5CF4}" dt="2023-06-04T06:45:22.462" v="19" actId="47"/>
        <pc:sldMkLst>
          <pc:docMk/>
          <pc:sldMk cId="230616618" sldId="3705"/>
        </pc:sldMkLst>
      </pc:sldChg>
      <pc:sldChg chg="add del">
        <pc:chgData name="Scott Sink" userId="007532c1-63dd-4f29-9932-df3a9735f490" providerId="ADAL" clId="{FC83FA74-9C6C-494A-B4A7-F24DFB5E5CF4}" dt="2023-06-11T09:43:48.537" v="4915" actId="47"/>
        <pc:sldMkLst>
          <pc:docMk/>
          <pc:sldMk cId="746193570" sldId="3705"/>
        </pc:sldMkLst>
      </pc:sldChg>
      <pc:sldChg chg="modSp add mod">
        <pc:chgData name="Scott Sink" userId="007532c1-63dd-4f29-9932-df3a9735f490" providerId="ADAL" clId="{FC83FA74-9C6C-494A-B4A7-F24DFB5E5CF4}" dt="2023-06-11T09:45:19.037" v="5043" actId="404"/>
        <pc:sldMkLst>
          <pc:docMk/>
          <pc:sldMk cId="99492927" sldId="3706"/>
        </pc:sldMkLst>
        <pc:spChg chg="mod">
          <ac:chgData name="Scott Sink" userId="007532c1-63dd-4f29-9932-df3a9735f490" providerId="ADAL" clId="{FC83FA74-9C6C-494A-B4A7-F24DFB5E5CF4}" dt="2023-06-11T09:45:19.037" v="5043" actId="404"/>
          <ac:spMkLst>
            <pc:docMk/>
            <pc:sldMk cId="99492927" sldId="3706"/>
            <ac:spMk id="2" creationId="{00000000-0000-0000-0000-000000000000}"/>
          </ac:spMkLst>
        </pc:spChg>
        <pc:spChg chg="mod">
          <ac:chgData name="Scott Sink" userId="007532c1-63dd-4f29-9932-df3a9735f490" providerId="ADAL" clId="{FC83FA74-9C6C-494A-B4A7-F24DFB5E5CF4}" dt="2023-06-11T09:44:49.004" v="4988" actId="1076"/>
          <ac:spMkLst>
            <pc:docMk/>
            <pc:sldMk cId="99492927" sldId="3706"/>
            <ac:spMk id="3" creationId="{00000000-0000-0000-0000-000000000000}"/>
          </ac:spMkLst>
        </pc:spChg>
      </pc:sldChg>
      <pc:sldChg chg="del">
        <pc:chgData name="Scott Sink" userId="007532c1-63dd-4f29-9932-df3a9735f490" providerId="ADAL" clId="{FC83FA74-9C6C-494A-B4A7-F24DFB5E5CF4}" dt="2023-06-04T06:45:22.718" v="20" actId="47"/>
        <pc:sldMkLst>
          <pc:docMk/>
          <pc:sldMk cId="3195592877" sldId="3706"/>
        </pc:sldMkLst>
      </pc:sldChg>
      <pc:sldChg chg="del">
        <pc:chgData name="Scott Sink" userId="007532c1-63dd-4f29-9932-df3a9735f490" providerId="ADAL" clId="{FC83FA74-9C6C-494A-B4A7-F24DFB5E5CF4}" dt="2023-06-04T06:45:22.983" v="21" actId="47"/>
        <pc:sldMkLst>
          <pc:docMk/>
          <pc:sldMk cId="735213613" sldId="3707"/>
        </pc:sldMkLst>
      </pc:sldChg>
      <pc:sldChg chg="addSp modSp add mod">
        <pc:chgData name="Scott Sink" userId="007532c1-63dd-4f29-9932-df3a9735f490" providerId="ADAL" clId="{FC83FA74-9C6C-494A-B4A7-F24DFB5E5CF4}" dt="2023-06-13T06:42:19.266" v="14097" actId="20577"/>
        <pc:sldMkLst>
          <pc:docMk/>
          <pc:sldMk cId="1725456752" sldId="3707"/>
        </pc:sldMkLst>
        <pc:spChg chg="mod">
          <ac:chgData name="Scott Sink" userId="007532c1-63dd-4f29-9932-df3a9735f490" providerId="ADAL" clId="{FC83FA74-9C6C-494A-B4A7-F24DFB5E5CF4}" dt="2023-06-12T09:02:10.328" v="8045" actId="1076"/>
          <ac:spMkLst>
            <pc:docMk/>
            <pc:sldMk cId="1725456752" sldId="3707"/>
            <ac:spMk id="14" creationId="{CB9B4450-B938-40FA-96F2-E1AB0E48DD60}"/>
          </ac:spMkLst>
        </pc:spChg>
        <pc:spChg chg="mod">
          <ac:chgData name="Scott Sink" userId="007532c1-63dd-4f29-9932-df3a9735f490" providerId="ADAL" clId="{FC83FA74-9C6C-494A-B4A7-F24DFB5E5CF4}" dt="2023-06-13T06:42:19.266" v="14097" actId="20577"/>
          <ac:spMkLst>
            <pc:docMk/>
            <pc:sldMk cId="1725456752" sldId="3707"/>
            <ac:spMk id="196610" creationId="{60C8078B-F5C0-45B0-85F1-ACB18330920A}"/>
          </ac:spMkLst>
        </pc:spChg>
        <pc:picChg chg="add mod">
          <ac:chgData name="Scott Sink" userId="007532c1-63dd-4f29-9932-df3a9735f490" providerId="ADAL" clId="{FC83FA74-9C6C-494A-B4A7-F24DFB5E5CF4}" dt="2023-06-12T09:03:04.710" v="8056" actId="1076"/>
          <ac:picMkLst>
            <pc:docMk/>
            <pc:sldMk cId="1725456752" sldId="3707"/>
            <ac:picMk id="3" creationId="{E0DDA000-7599-E3CB-8429-3A2C638AD9BA}"/>
          </ac:picMkLst>
        </pc:picChg>
        <pc:picChg chg="mod">
          <ac:chgData name="Scott Sink" userId="007532c1-63dd-4f29-9932-df3a9735f490" providerId="ADAL" clId="{FC83FA74-9C6C-494A-B4A7-F24DFB5E5CF4}" dt="2023-06-12T09:02:58.428" v="8053" actId="14100"/>
          <ac:picMkLst>
            <pc:docMk/>
            <pc:sldMk cId="1725456752" sldId="3707"/>
            <ac:picMk id="4" creationId="{F7468D7E-658B-445C-8A64-F80C656E476A}"/>
          </ac:picMkLst>
        </pc:picChg>
        <pc:picChg chg="mod">
          <ac:chgData name="Scott Sink" userId="007532c1-63dd-4f29-9932-df3a9735f490" providerId="ADAL" clId="{FC83FA74-9C6C-494A-B4A7-F24DFB5E5CF4}" dt="2023-06-12T09:02:13.010" v="8046" actId="1076"/>
          <ac:picMkLst>
            <pc:docMk/>
            <pc:sldMk cId="1725456752" sldId="3707"/>
            <ac:picMk id="6" creationId="{AF56A864-CA34-4288-9B20-98CD699AB66F}"/>
          </ac:picMkLst>
        </pc:picChg>
        <pc:picChg chg="mod">
          <ac:chgData name="Scott Sink" userId="007532c1-63dd-4f29-9932-df3a9735f490" providerId="ADAL" clId="{FC83FA74-9C6C-494A-B4A7-F24DFB5E5CF4}" dt="2023-06-12T09:03:02.376" v="8055" actId="1076"/>
          <ac:picMkLst>
            <pc:docMk/>
            <pc:sldMk cId="1725456752" sldId="3707"/>
            <ac:picMk id="7" creationId="{4B02485E-8732-460C-923D-5F6B364FEC53}"/>
          </ac:picMkLst>
        </pc:picChg>
        <pc:picChg chg="add mod">
          <ac:chgData name="Scott Sink" userId="007532c1-63dd-4f29-9932-df3a9735f490" providerId="ADAL" clId="{FC83FA74-9C6C-494A-B4A7-F24DFB5E5CF4}" dt="2023-06-12T09:03:34.582" v="8060" actId="1076"/>
          <ac:picMkLst>
            <pc:docMk/>
            <pc:sldMk cId="1725456752" sldId="3707"/>
            <ac:picMk id="8" creationId="{2E3B3A70-C8FD-507C-4FCB-B2CF021AA4E1}"/>
          </ac:picMkLst>
        </pc:picChg>
        <pc:picChg chg="mod">
          <ac:chgData name="Scott Sink" userId="007532c1-63dd-4f29-9932-df3a9735f490" providerId="ADAL" clId="{FC83FA74-9C6C-494A-B4A7-F24DFB5E5CF4}" dt="2023-06-12T09:01:59.326" v="8041" actId="1076"/>
          <ac:picMkLst>
            <pc:docMk/>
            <pc:sldMk cId="1725456752" sldId="3707"/>
            <ac:picMk id="9" creationId="{50B41243-4AF9-4EFC-A6AB-6DF56A0B7F93}"/>
          </ac:picMkLst>
        </pc:picChg>
        <pc:picChg chg="mod">
          <ac:chgData name="Scott Sink" userId="007532c1-63dd-4f29-9932-df3a9735f490" providerId="ADAL" clId="{FC83FA74-9C6C-494A-B4A7-F24DFB5E5CF4}" dt="2023-06-12T09:02:15.985" v="8047" actId="1076"/>
          <ac:picMkLst>
            <pc:docMk/>
            <pc:sldMk cId="1725456752" sldId="3707"/>
            <ac:picMk id="11" creationId="{5C4D9095-A319-4A05-BCB9-4E1E0BDB56E4}"/>
          </ac:picMkLst>
        </pc:picChg>
        <pc:picChg chg="mod">
          <ac:chgData name="Scott Sink" userId="007532c1-63dd-4f29-9932-df3a9735f490" providerId="ADAL" clId="{FC83FA74-9C6C-494A-B4A7-F24DFB5E5CF4}" dt="2023-06-12T09:02:08.054" v="8044" actId="1076"/>
          <ac:picMkLst>
            <pc:docMk/>
            <pc:sldMk cId="1725456752" sldId="3707"/>
            <ac:picMk id="16" creationId="{DBAC255D-CF1C-48DE-8B99-349BA4DB9C5E}"/>
          </ac:picMkLst>
        </pc:picChg>
      </pc:sldChg>
      <pc:sldChg chg="del">
        <pc:chgData name="Scott Sink" userId="007532c1-63dd-4f29-9932-df3a9735f490" providerId="ADAL" clId="{FC83FA74-9C6C-494A-B4A7-F24DFB5E5CF4}" dt="2023-06-04T06:45:23.260" v="22" actId="47"/>
        <pc:sldMkLst>
          <pc:docMk/>
          <pc:sldMk cId="337436359" sldId="3708"/>
        </pc:sldMkLst>
      </pc:sldChg>
      <pc:sldChg chg="add">
        <pc:chgData name="Scott Sink" userId="007532c1-63dd-4f29-9932-df3a9735f490" providerId="ADAL" clId="{FC83FA74-9C6C-494A-B4A7-F24DFB5E5CF4}" dt="2023-06-10T08:01:25.615" v="1065"/>
        <pc:sldMkLst>
          <pc:docMk/>
          <pc:sldMk cId="820505946" sldId="3708"/>
        </pc:sldMkLst>
      </pc:sldChg>
      <pc:sldChg chg="add">
        <pc:chgData name="Scott Sink" userId="007532c1-63dd-4f29-9932-df3a9735f490" providerId="ADAL" clId="{FC83FA74-9C6C-494A-B4A7-F24DFB5E5CF4}" dt="2023-06-10T08:01:29.279" v="1067"/>
        <pc:sldMkLst>
          <pc:docMk/>
          <pc:sldMk cId="1376378033" sldId="3709"/>
        </pc:sldMkLst>
      </pc:sldChg>
      <pc:sldChg chg="del">
        <pc:chgData name="Scott Sink" userId="007532c1-63dd-4f29-9932-df3a9735f490" providerId="ADAL" clId="{FC83FA74-9C6C-494A-B4A7-F24DFB5E5CF4}" dt="2023-06-04T06:45:23.537" v="23" actId="47"/>
        <pc:sldMkLst>
          <pc:docMk/>
          <pc:sldMk cId="3838641964" sldId="3709"/>
        </pc:sldMkLst>
      </pc:sldChg>
      <pc:sldChg chg="add">
        <pc:chgData name="Scott Sink" userId="007532c1-63dd-4f29-9932-df3a9735f490" providerId="ADAL" clId="{FC83FA74-9C6C-494A-B4A7-F24DFB5E5CF4}" dt="2023-06-10T08:01:36.258" v="1069"/>
        <pc:sldMkLst>
          <pc:docMk/>
          <pc:sldMk cId="1670056216" sldId="3710"/>
        </pc:sldMkLst>
      </pc:sldChg>
      <pc:sldChg chg="del">
        <pc:chgData name="Scott Sink" userId="007532c1-63dd-4f29-9932-df3a9735f490" providerId="ADAL" clId="{FC83FA74-9C6C-494A-B4A7-F24DFB5E5CF4}" dt="2023-06-04T06:45:23.800" v="24" actId="47"/>
        <pc:sldMkLst>
          <pc:docMk/>
          <pc:sldMk cId="2469079551" sldId="3710"/>
        </pc:sldMkLst>
      </pc:sldChg>
      <pc:sldChg chg="del">
        <pc:chgData name="Scott Sink" userId="007532c1-63dd-4f29-9932-df3a9735f490" providerId="ADAL" clId="{FC83FA74-9C6C-494A-B4A7-F24DFB5E5CF4}" dt="2023-06-04T06:45:24.283" v="25" actId="47"/>
        <pc:sldMkLst>
          <pc:docMk/>
          <pc:sldMk cId="1212769949" sldId="3711"/>
        </pc:sldMkLst>
      </pc:sldChg>
      <pc:sldChg chg="delSp add mod ord">
        <pc:chgData name="Scott Sink" userId="007532c1-63dd-4f29-9932-df3a9735f490" providerId="ADAL" clId="{FC83FA74-9C6C-494A-B4A7-F24DFB5E5CF4}" dt="2023-06-12T08:44:00.127" v="7623" actId="478"/>
        <pc:sldMkLst>
          <pc:docMk/>
          <pc:sldMk cId="3854666165" sldId="3711"/>
        </pc:sldMkLst>
        <pc:spChg chg="del">
          <ac:chgData name="Scott Sink" userId="007532c1-63dd-4f29-9932-df3a9735f490" providerId="ADAL" clId="{FC83FA74-9C6C-494A-B4A7-F24DFB5E5CF4}" dt="2023-06-12T08:44:00.127" v="7623" actId="478"/>
          <ac:spMkLst>
            <pc:docMk/>
            <pc:sldMk cId="3854666165" sldId="3711"/>
            <ac:spMk id="4" creationId="{00000000-0000-0000-0000-000000000000}"/>
          </ac:spMkLst>
        </pc:spChg>
      </pc:sldChg>
      <pc:sldChg chg="del">
        <pc:chgData name="Scott Sink" userId="007532c1-63dd-4f29-9932-df3a9735f490" providerId="ADAL" clId="{FC83FA74-9C6C-494A-B4A7-F24DFB5E5CF4}" dt="2023-06-04T06:45:24.781" v="26" actId="47"/>
        <pc:sldMkLst>
          <pc:docMk/>
          <pc:sldMk cId="1777999867" sldId="3712"/>
        </pc:sldMkLst>
      </pc:sldChg>
      <pc:sldChg chg="add">
        <pc:chgData name="Scott Sink" userId="007532c1-63dd-4f29-9932-df3a9735f490" providerId="ADAL" clId="{FC83FA74-9C6C-494A-B4A7-F24DFB5E5CF4}" dt="2023-06-10T08:02:04.169" v="1073"/>
        <pc:sldMkLst>
          <pc:docMk/>
          <pc:sldMk cId="2377336484" sldId="3712"/>
        </pc:sldMkLst>
      </pc:sldChg>
      <pc:sldChg chg="modSp add mod ord">
        <pc:chgData name="Scott Sink" userId="007532c1-63dd-4f29-9932-df3a9735f490" providerId="ADAL" clId="{FC83FA74-9C6C-494A-B4A7-F24DFB5E5CF4}" dt="2023-06-13T06:05:56.220" v="12696" actId="1076"/>
        <pc:sldMkLst>
          <pc:docMk/>
          <pc:sldMk cId="2092835934" sldId="3713"/>
        </pc:sldMkLst>
        <pc:spChg chg="mod">
          <ac:chgData name="Scott Sink" userId="007532c1-63dd-4f29-9932-df3a9735f490" providerId="ADAL" clId="{FC83FA74-9C6C-494A-B4A7-F24DFB5E5CF4}" dt="2023-06-13T06:04:20.850" v="12694" actId="20577"/>
          <ac:spMkLst>
            <pc:docMk/>
            <pc:sldMk cId="2092835934" sldId="3713"/>
            <ac:spMk id="13" creationId="{9988262A-4CE8-4497-AFAB-CDE3938AAC06}"/>
          </ac:spMkLst>
        </pc:spChg>
        <pc:picChg chg="mod">
          <ac:chgData name="Scott Sink" userId="007532c1-63dd-4f29-9932-df3a9735f490" providerId="ADAL" clId="{FC83FA74-9C6C-494A-B4A7-F24DFB5E5CF4}" dt="2023-06-13T06:05:56.220" v="12696" actId="1076"/>
          <ac:picMkLst>
            <pc:docMk/>
            <pc:sldMk cId="2092835934" sldId="3713"/>
            <ac:picMk id="1026" creationId="{00000000-0000-0000-0000-000000000000}"/>
          </ac:picMkLst>
        </pc:picChg>
      </pc:sldChg>
      <pc:sldChg chg="del">
        <pc:chgData name="Scott Sink" userId="007532c1-63dd-4f29-9932-df3a9735f490" providerId="ADAL" clId="{FC83FA74-9C6C-494A-B4A7-F24DFB5E5CF4}" dt="2023-06-04T06:45:25.250" v="27" actId="47"/>
        <pc:sldMkLst>
          <pc:docMk/>
          <pc:sldMk cId="2275490012" sldId="3713"/>
        </pc:sldMkLst>
      </pc:sldChg>
      <pc:sldChg chg="add del">
        <pc:chgData name="Scott Sink" userId="007532c1-63dd-4f29-9932-df3a9735f490" providerId="ADAL" clId="{FC83FA74-9C6C-494A-B4A7-F24DFB5E5CF4}" dt="2023-06-12T10:11:29.318" v="10091" actId="47"/>
        <pc:sldMkLst>
          <pc:docMk/>
          <pc:sldMk cId="2433832772" sldId="3714"/>
        </pc:sldMkLst>
      </pc:sldChg>
      <pc:sldChg chg="del">
        <pc:chgData name="Scott Sink" userId="007532c1-63dd-4f29-9932-df3a9735f490" providerId="ADAL" clId="{FC83FA74-9C6C-494A-B4A7-F24DFB5E5CF4}" dt="2023-06-04T06:45:26.040" v="28" actId="47"/>
        <pc:sldMkLst>
          <pc:docMk/>
          <pc:sldMk cId="2859851823" sldId="3714"/>
        </pc:sldMkLst>
      </pc:sldChg>
      <pc:sldChg chg="add ord">
        <pc:chgData name="Scott Sink" userId="007532c1-63dd-4f29-9932-df3a9735f490" providerId="ADAL" clId="{FC83FA74-9C6C-494A-B4A7-F24DFB5E5CF4}" dt="2023-06-12T08:41:19.709" v="7615"/>
        <pc:sldMkLst>
          <pc:docMk/>
          <pc:sldMk cId="2193695439" sldId="3715"/>
        </pc:sldMkLst>
      </pc:sldChg>
      <pc:sldChg chg="del">
        <pc:chgData name="Scott Sink" userId="007532c1-63dd-4f29-9932-df3a9735f490" providerId="ADAL" clId="{FC83FA74-9C6C-494A-B4A7-F24DFB5E5CF4}" dt="2023-06-04T06:45:26.466" v="29" actId="47"/>
        <pc:sldMkLst>
          <pc:docMk/>
          <pc:sldMk cId="2974356457" sldId="3715"/>
        </pc:sldMkLst>
      </pc:sldChg>
      <pc:sldChg chg="del">
        <pc:chgData name="Scott Sink" userId="007532c1-63dd-4f29-9932-df3a9735f490" providerId="ADAL" clId="{FC83FA74-9C6C-494A-B4A7-F24DFB5E5CF4}" dt="2023-06-04T06:45:26.841" v="30" actId="47"/>
        <pc:sldMkLst>
          <pc:docMk/>
          <pc:sldMk cId="1580128679" sldId="3716"/>
        </pc:sldMkLst>
      </pc:sldChg>
      <pc:sldChg chg="add">
        <pc:chgData name="Scott Sink" userId="007532c1-63dd-4f29-9932-df3a9735f490" providerId="ADAL" clId="{FC83FA74-9C6C-494A-B4A7-F24DFB5E5CF4}" dt="2023-06-10T08:02:38.271" v="1081"/>
        <pc:sldMkLst>
          <pc:docMk/>
          <pc:sldMk cId="3396442185" sldId="3716"/>
        </pc:sldMkLst>
      </pc:sldChg>
      <pc:sldChg chg="add del ord">
        <pc:chgData name="Scott Sink" userId="007532c1-63dd-4f29-9932-df3a9735f490" providerId="ADAL" clId="{FC83FA74-9C6C-494A-B4A7-F24DFB5E5CF4}" dt="2023-06-12T10:12:14.004" v="10095"/>
        <pc:sldMkLst>
          <pc:docMk/>
          <pc:sldMk cId="1049912250" sldId="3717"/>
        </pc:sldMkLst>
      </pc:sldChg>
      <pc:sldChg chg="del">
        <pc:chgData name="Scott Sink" userId="007532c1-63dd-4f29-9932-df3a9735f490" providerId="ADAL" clId="{FC83FA74-9C6C-494A-B4A7-F24DFB5E5CF4}" dt="2023-06-04T06:45:28.221" v="31" actId="47"/>
        <pc:sldMkLst>
          <pc:docMk/>
          <pc:sldMk cId="3771296738" sldId="3717"/>
        </pc:sldMkLst>
      </pc:sldChg>
      <pc:sldChg chg="modSp add mod ord">
        <pc:chgData name="Scott Sink" userId="007532c1-63dd-4f29-9932-df3a9735f490" providerId="ADAL" clId="{FC83FA74-9C6C-494A-B4A7-F24DFB5E5CF4}" dt="2023-06-12T10:12:32.079" v="10098" actId="14100"/>
        <pc:sldMkLst>
          <pc:docMk/>
          <pc:sldMk cId="121591149" sldId="3718"/>
        </pc:sldMkLst>
        <pc:picChg chg="mod">
          <ac:chgData name="Scott Sink" userId="007532c1-63dd-4f29-9932-df3a9735f490" providerId="ADAL" clId="{FC83FA74-9C6C-494A-B4A7-F24DFB5E5CF4}" dt="2023-06-12T10:12:32.079" v="10098" actId="14100"/>
          <ac:picMkLst>
            <pc:docMk/>
            <pc:sldMk cId="121591149" sldId="3718"/>
            <ac:picMk id="6" creationId="{56E1C2B8-D1B1-45E8-8BD8-AE10D64171A4}"/>
          </ac:picMkLst>
        </pc:picChg>
      </pc:sldChg>
      <pc:sldChg chg="del">
        <pc:chgData name="Scott Sink" userId="007532c1-63dd-4f29-9932-df3a9735f490" providerId="ADAL" clId="{FC83FA74-9C6C-494A-B4A7-F24DFB5E5CF4}" dt="2023-06-04T06:45:29.790" v="32" actId="47"/>
        <pc:sldMkLst>
          <pc:docMk/>
          <pc:sldMk cId="319426285" sldId="3718"/>
        </pc:sldMkLst>
      </pc:sldChg>
      <pc:sldChg chg="add">
        <pc:chgData name="Scott Sink" userId="007532c1-63dd-4f29-9932-df3a9735f490" providerId="ADAL" clId="{FC83FA74-9C6C-494A-B4A7-F24DFB5E5CF4}" dt="2023-06-10T08:03:15.619" v="1090"/>
        <pc:sldMkLst>
          <pc:docMk/>
          <pc:sldMk cId="1217200469" sldId="3719"/>
        </pc:sldMkLst>
      </pc:sldChg>
      <pc:sldChg chg="add del">
        <pc:chgData name="Scott Sink" userId="007532c1-63dd-4f29-9932-df3a9735f490" providerId="ADAL" clId="{FC83FA74-9C6C-494A-B4A7-F24DFB5E5CF4}" dt="2023-06-10T08:03:07.303" v="1088" actId="27028"/>
        <pc:sldMkLst>
          <pc:docMk/>
          <pc:sldMk cId="1860656221" sldId="3719"/>
        </pc:sldMkLst>
      </pc:sldChg>
      <pc:sldChg chg="del">
        <pc:chgData name="Scott Sink" userId="007532c1-63dd-4f29-9932-df3a9735f490" providerId="ADAL" clId="{FC83FA74-9C6C-494A-B4A7-F24DFB5E5CF4}" dt="2023-06-04T06:45:30.751" v="33" actId="47"/>
        <pc:sldMkLst>
          <pc:docMk/>
          <pc:sldMk cId="2577538415" sldId="3719"/>
        </pc:sldMkLst>
      </pc:sldChg>
      <pc:sldChg chg="addSp delSp modSp add mod">
        <pc:chgData name="Scott Sink" userId="007532c1-63dd-4f29-9932-df3a9735f490" providerId="ADAL" clId="{FC83FA74-9C6C-494A-B4A7-F24DFB5E5CF4}" dt="2023-06-11T09:58:16.038" v="5668" actId="20577"/>
        <pc:sldMkLst>
          <pc:docMk/>
          <pc:sldMk cId="2157562518" sldId="3720"/>
        </pc:sldMkLst>
        <pc:spChg chg="del">
          <ac:chgData name="Scott Sink" userId="007532c1-63dd-4f29-9932-df3a9735f490" providerId="ADAL" clId="{FC83FA74-9C6C-494A-B4A7-F24DFB5E5CF4}" dt="2023-06-10T12:05:48.727" v="1317" actId="478"/>
          <ac:spMkLst>
            <pc:docMk/>
            <pc:sldMk cId="2157562518" sldId="3720"/>
            <ac:spMk id="3" creationId="{1D009894-6A29-FBD7-CD3E-4B2DD2796C80}"/>
          </ac:spMkLst>
        </pc:spChg>
        <pc:spChg chg="mod">
          <ac:chgData name="Scott Sink" userId="007532c1-63dd-4f29-9932-df3a9735f490" providerId="ADAL" clId="{FC83FA74-9C6C-494A-B4A7-F24DFB5E5CF4}" dt="2023-06-11T09:58:16.038" v="5668" actId="20577"/>
          <ac:spMkLst>
            <pc:docMk/>
            <pc:sldMk cId="2157562518" sldId="3720"/>
            <ac:spMk id="5" creationId="{91AF4710-E7ED-4C43-93C6-634B527FF067}"/>
          </ac:spMkLst>
        </pc:spChg>
        <pc:spChg chg="add del mod">
          <ac:chgData name="Scott Sink" userId="007532c1-63dd-4f29-9932-df3a9735f490" providerId="ADAL" clId="{FC83FA74-9C6C-494A-B4A7-F24DFB5E5CF4}" dt="2023-06-10T12:05:47.685" v="1316" actId="478"/>
          <ac:spMkLst>
            <pc:docMk/>
            <pc:sldMk cId="2157562518" sldId="3720"/>
            <ac:spMk id="8" creationId="{204F8164-0CCD-8C69-0B82-7A7B11025B91}"/>
          </ac:spMkLst>
        </pc:spChg>
        <pc:picChg chg="mod">
          <ac:chgData name="Scott Sink" userId="007532c1-63dd-4f29-9932-df3a9735f490" providerId="ADAL" clId="{FC83FA74-9C6C-494A-B4A7-F24DFB5E5CF4}" dt="2023-06-10T12:05:53.242" v="1320" actId="1076"/>
          <ac:picMkLst>
            <pc:docMk/>
            <pc:sldMk cId="2157562518" sldId="3720"/>
            <ac:picMk id="4" creationId="{65E46EC6-C6B7-438D-A30A-EB95E873D14E}"/>
          </ac:picMkLst>
        </pc:picChg>
        <pc:picChg chg="del">
          <ac:chgData name="Scott Sink" userId="007532c1-63dd-4f29-9932-df3a9735f490" providerId="ADAL" clId="{FC83FA74-9C6C-494A-B4A7-F24DFB5E5CF4}" dt="2023-06-10T12:05:44.410" v="1315" actId="478"/>
          <ac:picMkLst>
            <pc:docMk/>
            <pc:sldMk cId="2157562518" sldId="3720"/>
            <ac:picMk id="9" creationId="{A36FBAF7-2856-4E8A-B0E6-21935FB26597}"/>
          </ac:picMkLst>
        </pc:picChg>
      </pc:sldChg>
      <pc:sldChg chg="modSp add del mod">
        <pc:chgData name="Scott Sink" userId="007532c1-63dd-4f29-9932-df3a9735f490" providerId="ADAL" clId="{FC83FA74-9C6C-494A-B4A7-F24DFB5E5CF4}" dt="2023-06-10T12:03:16.797" v="1295" actId="47"/>
        <pc:sldMkLst>
          <pc:docMk/>
          <pc:sldMk cId="4029885698" sldId="3720"/>
        </pc:sldMkLst>
        <pc:spChg chg="mod">
          <ac:chgData name="Scott Sink" userId="007532c1-63dd-4f29-9932-df3a9735f490" providerId="ADAL" clId="{FC83FA74-9C6C-494A-B4A7-F24DFB5E5CF4}" dt="2023-06-10T12:01:47.592" v="1199" actId="5793"/>
          <ac:spMkLst>
            <pc:docMk/>
            <pc:sldMk cId="4029885698" sldId="3720"/>
            <ac:spMk id="3" creationId="{D52268DB-61E4-27E1-5D29-0E7DE9B5711D}"/>
          </ac:spMkLst>
        </pc:spChg>
      </pc:sldChg>
      <pc:sldChg chg="add ord">
        <pc:chgData name="Scott Sink" userId="007532c1-63dd-4f29-9932-df3a9735f490" providerId="ADAL" clId="{FC83FA74-9C6C-494A-B4A7-F24DFB5E5CF4}" dt="2023-06-10T12:14:27.043" v="1939"/>
        <pc:sldMkLst>
          <pc:docMk/>
          <pc:sldMk cId="1211370524" sldId="3721"/>
        </pc:sldMkLst>
      </pc:sldChg>
      <pc:sldChg chg="addSp modSp add mod modClrScheme chgLayout">
        <pc:chgData name="Scott Sink" userId="007532c1-63dd-4f29-9932-df3a9735f490" providerId="ADAL" clId="{FC83FA74-9C6C-494A-B4A7-F24DFB5E5CF4}" dt="2023-06-10T12:46:34.786" v="2709" actId="20577"/>
        <pc:sldMkLst>
          <pc:docMk/>
          <pc:sldMk cId="2994697881" sldId="3722"/>
        </pc:sldMkLst>
        <pc:spChg chg="mod ord">
          <ac:chgData name="Scott Sink" userId="007532c1-63dd-4f29-9932-df3a9735f490" providerId="ADAL" clId="{FC83FA74-9C6C-494A-B4A7-F24DFB5E5CF4}" dt="2023-06-10T12:18:00.224" v="1963" actId="20577"/>
          <ac:spMkLst>
            <pc:docMk/>
            <pc:sldMk cId="2994697881" sldId="3722"/>
            <ac:spMk id="2" creationId="{00000000-0000-0000-0000-000000000000}"/>
          </ac:spMkLst>
        </pc:spChg>
        <pc:spChg chg="add mod">
          <ac:chgData name="Scott Sink" userId="007532c1-63dd-4f29-9932-df3a9735f490" providerId="ADAL" clId="{FC83FA74-9C6C-494A-B4A7-F24DFB5E5CF4}" dt="2023-06-10T12:46:34.786" v="2709" actId="20577"/>
          <ac:spMkLst>
            <pc:docMk/>
            <pc:sldMk cId="2994697881" sldId="3722"/>
            <ac:spMk id="3" creationId="{4A27F47B-A1C7-0A36-047F-8D4EBEC79B90}"/>
          </ac:spMkLst>
        </pc:spChg>
        <pc:picChg chg="mod">
          <ac:chgData name="Scott Sink" userId="007532c1-63dd-4f29-9932-df3a9735f490" providerId="ADAL" clId="{FC83FA74-9C6C-494A-B4A7-F24DFB5E5CF4}" dt="2023-06-10T12:22:41.100" v="1966" actId="1076"/>
          <ac:picMkLst>
            <pc:docMk/>
            <pc:sldMk cId="2994697881" sldId="3722"/>
            <ac:picMk id="11266" creationId="{00000000-0000-0000-0000-000000000000}"/>
          </ac:picMkLst>
        </pc:picChg>
      </pc:sldChg>
      <pc:sldChg chg="modSp new mod">
        <pc:chgData name="Scott Sink" userId="007532c1-63dd-4f29-9932-df3a9735f490" providerId="ADAL" clId="{FC83FA74-9C6C-494A-B4A7-F24DFB5E5CF4}" dt="2023-06-10T12:49:59.178" v="3072" actId="20577"/>
        <pc:sldMkLst>
          <pc:docMk/>
          <pc:sldMk cId="3987754599" sldId="3723"/>
        </pc:sldMkLst>
        <pc:spChg chg="mod">
          <ac:chgData name="Scott Sink" userId="007532c1-63dd-4f29-9932-df3a9735f490" providerId="ADAL" clId="{FC83FA74-9C6C-494A-B4A7-F24DFB5E5CF4}" dt="2023-06-10T12:47:18.977" v="2732" actId="20577"/>
          <ac:spMkLst>
            <pc:docMk/>
            <pc:sldMk cId="3987754599" sldId="3723"/>
            <ac:spMk id="2" creationId="{1885B990-AFCE-8D63-680A-40D31BAFBA0B}"/>
          </ac:spMkLst>
        </pc:spChg>
        <pc:spChg chg="mod">
          <ac:chgData name="Scott Sink" userId="007532c1-63dd-4f29-9932-df3a9735f490" providerId="ADAL" clId="{FC83FA74-9C6C-494A-B4A7-F24DFB5E5CF4}" dt="2023-06-10T12:49:59.178" v="3072" actId="20577"/>
          <ac:spMkLst>
            <pc:docMk/>
            <pc:sldMk cId="3987754599" sldId="3723"/>
            <ac:spMk id="3" creationId="{E8632877-DCB4-E0B0-3E38-81CBF041788D}"/>
          </ac:spMkLst>
        </pc:spChg>
      </pc:sldChg>
      <pc:sldChg chg="modSp new mod">
        <pc:chgData name="Scott Sink" userId="007532c1-63dd-4f29-9932-df3a9735f490" providerId="ADAL" clId="{FC83FA74-9C6C-494A-B4A7-F24DFB5E5CF4}" dt="2023-06-12T09:06:09.247" v="8190" actId="20577"/>
        <pc:sldMkLst>
          <pc:docMk/>
          <pc:sldMk cId="2514327765" sldId="3724"/>
        </pc:sldMkLst>
        <pc:spChg chg="mod">
          <ac:chgData name="Scott Sink" userId="007532c1-63dd-4f29-9932-df3a9735f490" providerId="ADAL" clId="{FC83FA74-9C6C-494A-B4A7-F24DFB5E5CF4}" dt="2023-06-10T12:50:30.643" v="3095" actId="5793"/>
          <ac:spMkLst>
            <pc:docMk/>
            <pc:sldMk cId="2514327765" sldId="3724"/>
            <ac:spMk id="2" creationId="{D8080394-8208-8494-6028-060C7103599C}"/>
          </ac:spMkLst>
        </pc:spChg>
        <pc:spChg chg="mod">
          <ac:chgData name="Scott Sink" userId="007532c1-63dd-4f29-9932-df3a9735f490" providerId="ADAL" clId="{FC83FA74-9C6C-494A-B4A7-F24DFB5E5CF4}" dt="2023-06-12T09:06:09.247" v="8190" actId="20577"/>
          <ac:spMkLst>
            <pc:docMk/>
            <pc:sldMk cId="2514327765" sldId="3724"/>
            <ac:spMk id="3" creationId="{7CE65C26-1056-993D-321F-8E606ED9340B}"/>
          </ac:spMkLst>
        </pc:spChg>
      </pc:sldChg>
      <pc:sldChg chg="modSp new mod ord">
        <pc:chgData name="Scott Sink" userId="007532c1-63dd-4f29-9932-df3a9735f490" providerId="ADAL" clId="{FC83FA74-9C6C-494A-B4A7-F24DFB5E5CF4}" dt="2023-06-13T10:39:26.042" v="14146"/>
        <pc:sldMkLst>
          <pc:docMk/>
          <pc:sldMk cId="268826" sldId="3725"/>
        </pc:sldMkLst>
        <pc:spChg chg="mod">
          <ac:chgData name="Scott Sink" userId="007532c1-63dd-4f29-9932-df3a9735f490" providerId="ADAL" clId="{FC83FA74-9C6C-494A-B4A7-F24DFB5E5CF4}" dt="2023-06-10T14:44:38.677" v="4218" actId="404"/>
          <ac:spMkLst>
            <pc:docMk/>
            <pc:sldMk cId="268826" sldId="3725"/>
            <ac:spMk id="2" creationId="{8609F0D6-9090-99EF-8DE9-722900A67E38}"/>
          </ac:spMkLst>
        </pc:spChg>
        <pc:spChg chg="mod">
          <ac:chgData name="Scott Sink" userId="007532c1-63dd-4f29-9932-df3a9735f490" providerId="ADAL" clId="{FC83FA74-9C6C-494A-B4A7-F24DFB5E5CF4}" dt="2023-06-12T09:35:24.576" v="9459" actId="20577"/>
          <ac:spMkLst>
            <pc:docMk/>
            <pc:sldMk cId="268826" sldId="3725"/>
            <ac:spMk id="3" creationId="{0DADB15C-1EB1-35E6-5CEC-9A1B07C154C3}"/>
          </ac:spMkLst>
        </pc:spChg>
      </pc:sldChg>
      <pc:sldChg chg="addSp delSp modSp new mod ord">
        <pc:chgData name="Scott Sink" userId="007532c1-63dd-4f29-9932-df3a9735f490" providerId="ADAL" clId="{FC83FA74-9C6C-494A-B4A7-F24DFB5E5CF4}" dt="2023-06-12T09:08:36.543" v="8268" actId="1076"/>
        <pc:sldMkLst>
          <pc:docMk/>
          <pc:sldMk cId="1429197579" sldId="3726"/>
        </pc:sldMkLst>
        <pc:spChg chg="mod">
          <ac:chgData name="Scott Sink" userId="007532c1-63dd-4f29-9932-df3a9735f490" providerId="ADAL" clId="{FC83FA74-9C6C-494A-B4A7-F24DFB5E5CF4}" dt="2023-06-12T08:40:34.560" v="7609" actId="1076"/>
          <ac:spMkLst>
            <pc:docMk/>
            <pc:sldMk cId="1429197579" sldId="3726"/>
            <ac:spMk id="2" creationId="{FFB0352D-5EAC-064F-58FC-240258C49B7C}"/>
          </ac:spMkLst>
        </pc:spChg>
        <pc:spChg chg="del">
          <ac:chgData name="Scott Sink" userId="007532c1-63dd-4f29-9932-df3a9735f490" providerId="ADAL" clId="{FC83FA74-9C6C-494A-B4A7-F24DFB5E5CF4}" dt="2023-06-11T09:49:52.215" v="5191"/>
          <ac:spMkLst>
            <pc:docMk/>
            <pc:sldMk cId="1429197579" sldId="3726"/>
            <ac:spMk id="3" creationId="{9F0C1C62-7E8F-625A-2281-04DB40856838}"/>
          </ac:spMkLst>
        </pc:spChg>
        <pc:spChg chg="add mod">
          <ac:chgData name="Scott Sink" userId="007532c1-63dd-4f29-9932-df3a9735f490" providerId="ADAL" clId="{FC83FA74-9C6C-494A-B4A7-F24DFB5E5CF4}" dt="2023-06-12T08:38:54.357" v="7558" actId="207"/>
          <ac:spMkLst>
            <pc:docMk/>
            <pc:sldMk cId="1429197579" sldId="3726"/>
            <ac:spMk id="3" creationId="{FC83EE5F-B4D7-668A-A61C-4219ABDB30B8}"/>
          </ac:spMkLst>
        </pc:spChg>
        <pc:spChg chg="del">
          <ac:chgData name="Scott Sink" userId="007532c1-63dd-4f29-9932-df3a9735f490" providerId="ADAL" clId="{FC83FA74-9C6C-494A-B4A7-F24DFB5E5CF4}" dt="2023-06-11T09:49:50.106" v="5190" actId="478"/>
          <ac:spMkLst>
            <pc:docMk/>
            <pc:sldMk cId="1429197579" sldId="3726"/>
            <ac:spMk id="4" creationId="{260F63C1-375D-E837-9860-62049FCFF15A}"/>
          </ac:spMkLst>
        </pc:spChg>
        <pc:spChg chg="add mod">
          <ac:chgData name="Scott Sink" userId="007532c1-63dd-4f29-9932-df3a9735f490" providerId="ADAL" clId="{FC83FA74-9C6C-494A-B4A7-F24DFB5E5CF4}" dt="2023-06-12T08:35:18.904" v="7517" actId="207"/>
          <ac:spMkLst>
            <pc:docMk/>
            <pc:sldMk cId="1429197579" sldId="3726"/>
            <ac:spMk id="4" creationId="{DFC50A58-7420-9DAF-6650-8070FF3D11FF}"/>
          </ac:spMkLst>
        </pc:spChg>
        <pc:spChg chg="add mod">
          <ac:chgData name="Scott Sink" userId="007532c1-63dd-4f29-9932-df3a9735f490" providerId="ADAL" clId="{FC83FA74-9C6C-494A-B4A7-F24DFB5E5CF4}" dt="2023-06-12T08:36:01.413" v="7526" actId="20577"/>
          <ac:spMkLst>
            <pc:docMk/>
            <pc:sldMk cId="1429197579" sldId="3726"/>
            <ac:spMk id="5" creationId="{0FBE9EB6-20F5-0532-3E38-BE132E6AC645}"/>
          </ac:spMkLst>
        </pc:spChg>
        <pc:spChg chg="add mod">
          <ac:chgData name="Scott Sink" userId="007532c1-63dd-4f29-9932-df3a9735f490" providerId="ADAL" clId="{FC83FA74-9C6C-494A-B4A7-F24DFB5E5CF4}" dt="2023-06-12T08:36:19.112" v="7532" actId="20577"/>
          <ac:spMkLst>
            <pc:docMk/>
            <pc:sldMk cId="1429197579" sldId="3726"/>
            <ac:spMk id="6" creationId="{C6BA335F-10B2-902C-A03C-189AC30F091F}"/>
          </ac:spMkLst>
        </pc:spChg>
        <pc:spChg chg="add mod">
          <ac:chgData name="Scott Sink" userId="007532c1-63dd-4f29-9932-df3a9735f490" providerId="ADAL" clId="{FC83FA74-9C6C-494A-B4A7-F24DFB5E5CF4}" dt="2023-06-12T09:08:16.484" v="8266" actId="1076"/>
          <ac:spMkLst>
            <pc:docMk/>
            <pc:sldMk cId="1429197579" sldId="3726"/>
            <ac:spMk id="7" creationId="{2AC7AC12-BFB3-DE58-8315-D1711B732B96}"/>
          </ac:spMkLst>
        </pc:spChg>
        <pc:spChg chg="add mod">
          <ac:chgData name="Scott Sink" userId="007532c1-63dd-4f29-9932-df3a9735f490" providerId="ADAL" clId="{FC83FA74-9C6C-494A-B4A7-F24DFB5E5CF4}" dt="2023-06-12T09:07:16.894" v="8250" actId="20577"/>
          <ac:spMkLst>
            <pc:docMk/>
            <pc:sldMk cId="1429197579" sldId="3726"/>
            <ac:spMk id="8" creationId="{A6610735-000D-2D77-8288-53669FDF94AF}"/>
          </ac:spMkLst>
        </pc:spChg>
        <pc:spChg chg="add del mod">
          <ac:chgData name="Scott Sink" userId="007532c1-63dd-4f29-9932-df3a9735f490" providerId="ADAL" clId="{FC83FA74-9C6C-494A-B4A7-F24DFB5E5CF4}" dt="2023-06-12T08:37:18.561" v="7543" actId="478"/>
          <ac:spMkLst>
            <pc:docMk/>
            <pc:sldMk cId="1429197579" sldId="3726"/>
            <ac:spMk id="9" creationId="{EE78C274-FF16-1026-4133-69CE16E9969B}"/>
          </ac:spMkLst>
        </pc:spChg>
        <pc:spChg chg="add del mod">
          <ac:chgData name="Scott Sink" userId="007532c1-63dd-4f29-9932-df3a9735f490" providerId="ADAL" clId="{FC83FA74-9C6C-494A-B4A7-F24DFB5E5CF4}" dt="2023-06-12T08:33:08.630" v="7432" actId="478"/>
          <ac:spMkLst>
            <pc:docMk/>
            <pc:sldMk cId="1429197579" sldId="3726"/>
            <ac:spMk id="10" creationId="{AC3A4469-7284-EAFD-110B-122A14BC8D99}"/>
          </ac:spMkLst>
        </pc:spChg>
        <pc:spChg chg="add mod">
          <ac:chgData name="Scott Sink" userId="007532c1-63dd-4f29-9932-df3a9735f490" providerId="ADAL" clId="{FC83FA74-9C6C-494A-B4A7-F24DFB5E5CF4}" dt="2023-06-12T08:37:28.810" v="7547" actId="20577"/>
          <ac:spMkLst>
            <pc:docMk/>
            <pc:sldMk cId="1429197579" sldId="3726"/>
            <ac:spMk id="11" creationId="{D4AB93AC-E71A-FA7F-45B6-6C59FDE1ABCB}"/>
          </ac:spMkLst>
        </pc:spChg>
        <pc:spChg chg="add mod">
          <ac:chgData name="Scott Sink" userId="007532c1-63dd-4f29-9932-df3a9735f490" providerId="ADAL" clId="{FC83FA74-9C6C-494A-B4A7-F24DFB5E5CF4}" dt="2023-06-12T08:37:42.676" v="7551" actId="20577"/>
          <ac:spMkLst>
            <pc:docMk/>
            <pc:sldMk cId="1429197579" sldId="3726"/>
            <ac:spMk id="12" creationId="{82BE0146-0CFC-0519-2033-09EB8851550E}"/>
          </ac:spMkLst>
        </pc:spChg>
        <pc:picChg chg="add del mod modCrop">
          <ac:chgData name="Scott Sink" userId="007532c1-63dd-4f29-9932-df3a9735f490" providerId="ADAL" clId="{FC83FA74-9C6C-494A-B4A7-F24DFB5E5CF4}" dt="2023-06-11T09:52:15.121" v="5362" actId="478"/>
          <ac:picMkLst>
            <pc:docMk/>
            <pc:sldMk cId="1429197579" sldId="3726"/>
            <ac:picMk id="6" creationId="{8FAF779C-E9DC-E8F7-582B-54AF31DE3C7A}"/>
          </ac:picMkLst>
        </pc:picChg>
        <pc:cxnChg chg="add mod">
          <ac:chgData name="Scott Sink" userId="007532c1-63dd-4f29-9932-df3a9735f490" providerId="ADAL" clId="{FC83FA74-9C6C-494A-B4A7-F24DFB5E5CF4}" dt="2023-06-12T08:39:39.638" v="7564" actId="693"/>
          <ac:cxnSpMkLst>
            <pc:docMk/>
            <pc:sldMk cId="1429197579" sldId="3726"/>
            <ac:cxnSpMk id="14" creationId="{E8534CF4-C252-4D17-8AC4-72BF43DB27D7}"/>
          </ac:cxnSpMkLst>
        </pc:cxnChg>
        <pc:cxnChg chg="add mod">
          <ac:chgData name="Scott Sink" userId="007532c1-63dd-4f29-9932-df3a9735f490" providerId="ADAL" clId="{FC83FA74-9C6C-494A-B4A7-F24DFB5E5CF4}" dt="2023-06-12T08:39:46.437" v="7565" actId="693"/>
          <ac:cxnSpMkLst>
            <pc:docMk/>
            <pc:sldMk cId="1429197579" sldId="3726"/>
            <ac:cxnSpMk id="15" creationId="{7ED61D90-D670-49D5-2745-6DE611146EE7}"/>
          </ac:cxnSpMkLst>
        </pc:cxnChg>
        <pc:cxnChg chg="add mod">
          <ac:chgData name="Scott Sink" userId="007532c1-63dd-4f29-9932-df3a9735f490" providerId="ADAL" clId="{FC83FA74-9C6C-494A-B4A7-F24DFB5E5CF4}" dt="2023-06-12T09:08:36.543" v="8268" actId="1076"/>
          <ac:cxnSpMkLst>
            <pc:docMk/>
            <pc:sldMk cId="1429197579" sldId="3726"/>
            <ac:cxnSpMk id="17" creationId="{999A206B-41B0-9033-78A0-3E8A5F6CAF4A}"/>
          </ac:cxnSpMkLst>
        </pc:cxnChg>
      </pc:sldChg>
      <pc:sldChg chg="modSp add mod ord">
        <pc:chgData name="Scott Sink" userId="007532c1-63dd-4f29-9932-df3a9735f490" providerId="ADAL" clId="{FC83FA74-9C6C-494A-B4A7-F24DFB5E5CF4}" dt="2023-06-11T10:07:35.737" v="6530"/>
        <pc:sldMkLst>
          <pc:docMk/>
          <pc:sldMk cId="3830039475" sldId="3727"/>
        </pc:sldMkLst>
        <pc:spChg chg="mod">
          <ac:chgData name="Scott Sink" userId="007532c1-63dd-4f29-9932-df3a9735f490" providerId="ADAL" clId="{FC83FA74-9C6C-494A-B4A7-F24DFB5E5CF4}" dt="2023-06-11T09:58:47.665" v="5711" actId="1076"/>
          <ac:spMkLst>
            <pc:docMk/>
            <pc:sldMk cId="3830039475" sldId="3727"/>
            <ac:spMk id="2" creationId="{F57C5E07-DB5B-55F2-6F01-6B61AC3D8F04}"/>
          </ac:spMkLst>
        </pc:spChg>
        <pc:spChg chg="mod">
          <ac:chgData name="Scott Sink" userId="007532c1-63dd-4f29-9932-df3a9735f490" providerId="ADAL" clId="{FC83FA74-9C6C-494A-B4A7-F24DFB5E5CF4}" dt="2023-06-11T10:07:25.771" v="6528" actId="14100"/>
          <ac:spMkLst>
            <pc:docMk/>
            <pc:sldMk cId="3830039475" sldId="3727"/>
            <ac:spMk id="3" creationId="{D52268DB-61E4-27E1-5D29-0E7DE9B5711D}"/>
          </ac:spMkLst>
        </pc:spChg>
      </pc:sldChg>
      <pc:sldChg chg="modSp add mod">
        <pc:chgData name="Scott Sink" userId="007532c1-63dd-4f29-9932-df3a9735f490" providerId="ADAL" clId="{FC83FA74-9C6C-494A-B4A7-F24DFB5E5CF4}" dt="2023-06-11T10:18:32.380" v="7286" actId="5793"/>
        <pc:sldMkLst>
          <pc:docMk/>
          <pc:sldMk cId="3325468415" sldId="3728"/>
        </pc:sldMkLst>
        <pc:spChg chg="mod">
          <ac:chgData name="Scott Sink" userId="007532c1-63dd-4f29-9932-df3a9735f490" providerId="ADAL" clId="{FC83FA74-9C6C-494A-B4A7-F24DFB5E5CF4}" dt="2023-06-11T10:08:54.287" v="6674" actId="20577"/>
          <ac:spMkLst>
            <pc:docMk/>
            <pc:sldMk cId="3325468415" sldId="3728"/>
            <ac:spMk id="2" creationId="{F57C5E07-DB5B-55F2-6F01-6B61AC3D8F04}"/>
          </ac:spMkLst>
        </pc:spChg>
        <pc:spChg chg="mod">
          <ac:chgData name="Scott Sink" userId="007532c1-63dd-4f29-9932-df3a9735f490" providerId="ADAL" clId="{FC83FA74-9C6C-494A-B4A7-F24DFB5E5CF4}" dt="2023-06-11T10:18:32.380" v="7286" actId="5793"/>
          <ac:spMkLst>
            <pc:docMk/>
            <pc:sldMk cId="3325468415" sldId="3728"/>
            <ac:spMk id="3" creationId="{D52268DB-61E4-27E1-5D29-0E7DE9B5711D}"/>
          </ac:spMkLst>
        </pc:spChg>
      </pc:sldChg>
      <pc:sldChg chg="addSp delSp modSp add mod delAnim modAnim">
        <pc:chgData name="Scott Sink" userId="007532c1-63dd-4f29-9932-df3a9735f490" providerId="ADAL" clId="{FC83FA74-9C6C-494A-B4A7-F24DFB5E5CF4}" dt="2023-06-11T11:31:56.401" v="7384" actId="1076"/>
        <pc:sldMkLst>
          <pc:docMk/>
          <pc:sldMk cId="1359187073" sldId="3729"/>
        </pc:sldMkLst>
        <pc:spChg chg="mod">
          <ac:chgData name="Scott Sink" userId="007532c1-63dd-4f29-9932-df3a9735f490" providerId="ADAL" clId="{FC83FA74-9C6C-494A-B4A7-F24DFB5E5CF4}" dt="2023-06-11T11:31:56.401" v="7384" actId="1076"/>
          <ac:spMkLst>
            <pc:docMk/>
            <pc:sldMk cId="1359187073" sldId="3729"/>
            <ac:spMk id="5" creationId="{7DD0B49D-EA7E-4765-B7FD-24B967ABF624}"/>
          </ac:spMkLst>
        </pc:spChg>
        <pc:spChg chg="add mod">
          <ac:chgData name="Scott Sink" userId="007532c1-63dd-4f29-9932-df3a9735f490" providerId="ADAL" clId="{FC83FA74-9C6C-494A-B4A7-F24DFB5E5CF4}" dt="2023-06-11T11:29:44.021" v="7332" actId="1076"/>
          <ac:spMkLst>
            <pc:docMk/>
            <pc:sldMk cId="1359187073" sldId="3729"/>
            <ac:spMk id="12" creationId="{DDEA6D96-35B6-2368-EFF2-177934050EC1}"/>
          </ac:spMkLst>
        </pc:spChg>
        <pc:spChg chg="del">
          <ac:chgData name="Scott Sink" userId="007532c1-63dd-4f29-9932-df3a9735f490" providerId="ADAL" clId="{FC83FA74-9C6C-494A-B4A7-F24DFB5E5CF4}" dt="2023-06-11T11:28:15.609" v="7291" actId="478"/>
          <ac:spMkLst>
            <pc:docMk/>
            <pc:sldMk cId="1359187073" sldId="3729"/>
            <ac:spMk id="24" creationId="{FB0033A8-A525-4CD7-9D36-C762174413F8}"/>
          </ac:spMkLst>
        </pc:spChg>
        <pc:spChg chg="add del mod">
          <ac:chgData name="Scott Sink" userId="007532c1-63dd-4f29-9932-df3a9735f490" providerId="ADAL" clId="{FC83FA74-9C6C-494A-B4A7-F24DFB5E5CF4}" dt="2023-06-11T11:30:58.546" v="7350" actId="478"/>
          <ac:spMkLst>
            <pc:docMk/>
            <pc:sldMk cId="1359187073" sldId="3729"/>
            <ac:spMk id="25" creationId="{3C5B8892-DF9F-9C1E-E1FD-8CF8D9BB73AE}"/>
          </ac:spMkLst>
        </pc:spChg>
        <pc:spChg chg="add mod">
          <ac:chgData name="Scott Sink" userId="007532c1-63dd-4f29-9932-df3a9735f490" providerId="ADAL" clId="{FC83FA74-9C6C-494A-B4A7-F24DFB5E5CF4}" dt="2023-06-11T11:31:22.112" v="7375" actId="207"/>
          <ac:spMkLst>
            <pc:docMk/>
            <pc:sldMk cId="1359187073" sldId="3729"/>
            <ac:spMk id="27" creationId="{217DBF53-5033-20B2-5971-0EC8794B5797}"/>
          </ac:spMkLst>
        </pc:spChg>
        <pc:spChg chg="del">
          <ac:chgData name="Scott Sink" userId="007532c1-63dd-4f29-9932-df3a9735f490" providerId="ADAL" clId="{FC83FA74-9C6C-494A-B4A7-F24DFB5E5CF4}" dt="2023-06-11T11:28:08.021" v="7288" actId="478"/>
          <ac:spMkLst>
            <pc:docMk/>
            <pc:sldMk cId="1359187073" sldId="3729"/>
            <ac:spMk id="70" creationId="{5DE7379F-A996-40A0-BBBC-7AE829C28700}"/>
          </ac:spMkLst>
        </pc:spChg>
        <pc:spChg chg="del mod">
          <ac:chgData name="Scott Sink" userId="007532c1-63dd-4f29-9932-df3a9735f490" providerId="ADAL" clId="{FC83FA74-9C6C-494A-B4A7-F24DFB5E5CF4}" dt="2023-06-11T11:28:22.171" v="7294" actId="478"/>
          <ac:spMkLst>
            <pc:docMk/>
            <pc:sldMk cId="1359187073" sldId="3729"/>
            <ac:spMk id="71" creationId="{A6FD7524-F947-4E71-8C0A-24B16EA406C2}"/>
          </ac:spMkLst>
        </pc:spChg>
        <pc:grpChg chg="add mod">
          <ac:chgData name="Scott Sink" userId="007532c1-63dd-4f29-9932-df3a9735f490" providerId="ADAL" clId="{FC83FA74-9C6C-494A-B4A7-F24DFB5E5CF4}" dt="2023-06-11T11:29:06.151" v="7304" actId="1076"/>
          <ac:grpSpMkLst>
            <pc:docMk/>
            <pc:sldMk cId="1359187073" sldId="3729"/>
            <ac:grpSpMk id="6" creationId="{D7D68842-3D01-CD2E-D913-DE9FEC4F7762}"/>
          </ac:grpSpMkLst>
        </pc:grpChg>
        <pc:grpChg chg="add mod">
          <ac:chgData name="Scott Sink" userId="007532c1-63dd-4f29-9932-df3a9735f490" providerId="ADAL" clId="{FC83FA74-9C6C-494A-B4A7-F24DFB5E5CF4}" dt="2023-06-11T11:29:54.228" v="7334" actId="1076"/>
          <ac:grpSpMkLst>
            <pc:docMk/>
            <pc:sldMk cId="1359187073" sldId="3729"/>
            <ac:grpSpMk id="14" creationId="{95B6885A-23D1-9870-A29E-4E8C2953686A}"/>
          </ac:grpSpMkLst>
        </pc:grpChg>
        <pc:grpChg chg="del">
          <ac:chgData name="Scott Sink" userId="007532c1-63dd-4f29-9932-df3a9735f490" providerId="ADAL" clId="{FC83FA74-9C6C-494A-B4A7-F24DFB5E5CF4}" dt="2023-06-11T11:28:08.737" v="7289" actId="478"/>
          <ac:grpSpMkLst>
            <pc:docMk/>
            <pc:sldMk cId="1359187073" sldId="3729"/>
            <ac:grpSpMk id="20" creationId="{A565A9EC-7D77-4424-9C33-3CA5D15B4ADA}"/>
          </ac:grpSpMkLst>
        </pc:grpChg>
        <pc:grpChg chg="mod">
          <ac:chgData name="Scott Sink" userId="007532c1-63dd-4f29-9932-df3a9735f490" providerId="ADAL" clId="{FC83FA74-9C6C-494A-B4A7-F24DFB5E5CF4}" dt="2023-06-11T11:31:46.787" v="7382" actId="1076"/>
          <ac:grpSpMkLst>
            <pc:docMk/>
            <pc:sldMk cId="1359187073" sldId="3729"/>
            <ac:grpSpMk id="30" creationId="{B47C8FCA-9581-44A5-8180-C56A6150303A}"/>
          </ac:grpSpMkLst>
        </pc:grpChg>
        <pc:grpChg chg="mod">
          <ac:chgData name="Scott Sink" userId="007532c1-63dd-4f29-9932-df3a9735f490" providerId="ADAL" clId="{FC83FA74-9C6C-494A-B4A7-F24DFB5E5CF4}" dt="2023-06-11T11:31:43.331" v="7381" actId="1076"/>
          <ac:grpSpMkLst>
            <pc:docMk/>
            <pc:sldMk cId="1359187073" sldId="3729"/>
            <ac:grpSpMk id="34" creationId="{E17D31DB-9B82-499E-BC20-D0F9A2B0C090}"/>
          </ac:grpSpMkLst>
        </pc:grpChg>
        <pc:grpChg chg="mod">
          <ac:chgData name="Scott Sink" userId="007532c1-63dd-4f29-9932-df3a9735f490" providerId="ADAL" clId="{FC83FA74-9C6C-494A-B4A7-F24DFB5E5CF4}" dt="2023-06-11T11:28:33.108" v="7296" actId="1076"/>
          <ac:grpSpMkLst>
            <pc:docMk/>
            <pc:sldMk cId="1359187073" sldId="3729"/>
            <ac:grpSpMk id="39" creationId="{B0A4039F-5828-4F1A-B40F-0E7CC707A23B}"/>
          </ac:grpSpMkLst>
        </pc:grpChg>
        <pc:grpChg chg="del">
          <ac:chgData name="Scott Sink" userId="007532c1-63dd-4f29-9932-df3a9735f490" providerId="ADAL" clId="{FC83FA74-9C6C-494A-B4A7-F24DFB5E5CF4}" dt="2023-06-11T11:28:12.121" v="7290" actId="478"/>
          <ac:grpSpMkLst>
            <pc:docMk/>
            <pc:sldMk cId="1359187073" sldId="3729"/>
            <ac:grpSpMk id="77" creationId="{30730EE6-E503-4222-ACE4-9357A863B782}"/>
          </ac:grpSpMkLst>
        </pc:grpChg>
        <pc:grpChg chg="del">
          <ac:chgData name="Scott Sink" userId="007532c1-63dd-4f29-9932-df3a9735f490" providerId="ADAL" clId="{FC83FA74-9C6C-494A-B4A7-F24DFB5E5CF4}" dt="2023-06-11T11:28:12.121" v="7290" actId="478"/>
          <ac:grpSpMkLst>
            <pc:docMk/>
            <pc:sldMk cId="1359187073" sldId="3729"/>
            <ac:grpSpMk id="82" creationId="{DB51DBA7-7FBC-4FB7-861D-045EC90773C6}"/>
          </ac:grpSpMkLst>
        </pc:grpChg>
        <pc:grpChg chg="del">
          <ac:chgData name="Scott Sink" userId="007532c1-63dd-4f29-9932-df3a9735f490" providerId="ADAL" clId="{FC83FA74-9C6C-494A-B4A7-F24DFB5E5CF4}" dt="2023-06-11T11:28:12.121" v="7290" actId="478"/>
          <ac:grpSpMkLst>
            <pc:docMk/>
            <pc:sldMk cId="1359187073" sldId="3729"/>
            <ac:grpSpMk id="87" creationId="{55F8986D-C88B-4A23-9196-9FFDCA78C125}"/>
          </ac:grpSpMkLst>
        </pc:grpChg>
        <pc:grpChg chg="del">
          <ac:chgData name="Scott Sink" userId="007532c1-63dd-4f29-9932-df3a9735f490" providerId="ADAL" clId="{FC83FA74-9C6C-494A-B4A7-F24DFB5E5CF4}" dt="2023-06-11T11:28:12.121" v="7290" actId="478"/>
          <ac:grpSpMkLst>
            <pc:docMk/>
            <pc:sldMk cId="1359187073" sldId="3729"/>
            <ac:grpSpMk id="92" creationId="{00959837-2DF4-4D39-8A8B-A1197DC048C2}"/>
          </ac:grpSpMkLst>
        </pc:grpChg>
        <pc:grpChg chg="del">
          <ac:chgData name="Scott Sink" userId="007532c1-63dd-4f29-9932-df3a9735f490" providerId="ADAL" clId="{FC83FA74-9C6C-494A-B4A7-F24DFB5E5CF4}" dt="2023-06-11T11:28:12.121" v="7290" actId="478"/>
          <ac:grpSpMkLst>
            <pc:docMk/>
            <pc:sldMk cId="1359187073" sldId="3729"/>
            <ac:grpSpMk id="97" creationId="{985049C8-BDEC-4DC1-BA53-C038BBC14D3B}"/>
          </ac:grpSpMkLst>
        </pc:grpChg>
        <pc:grpChg chg="del">
          <ac:chgData name="Scott Sink" userId="007532c1-63dd-4f29-9932-df3a9735f490" providerId="ADAL" clId="{FC83FA74-9C6C-494A-B4A7-F24DFB5E5CF4}" dt="2023-06-11T11:28:12.121" v="7290" actId="478"/>
          <ac:grpSpMkLst>
            <pc:docMk/>
            <pc:sldMk cId="1359187073" sldId="3729"/>
            <ac:grpSpMk id="102" creationId="{44B2712D-FB6D-4F99-8313-1078A2611424}"/>
          </ac:grpSpMkLst>
        </pc:grpChg>
        <pc:grpChg chg="del">
          <ac:chgData name="Scott Sink" userId="007532c1-63dd-4f29-9932-df3a9735f490" providerId="ADAL" clId="{FC83FA74-9C6C-494A-B4A7-F24DFB5E5CF4}" dt="2023-06-11T11:28:12.121" v="7290" actId="478"/>
          <ac:grpSpMkLst>
            <pc:docMk/>
            <pc:sldMk cId="1359187073" sldId="3729"/>
            <ac:grpSpMk id="107" creationId="{9C4EA2A9-8984-4347-802C-41FD93AE3B28}"/>
          </ac:grpSpMkLst>
        </pc:grpChg>
        <pc:grpChg chg="del">
          <ac:chgData name="Scott Sink" userId="007532c1-63dd-4f29-9932-df3a9735f490" providerId="ADAL" clId="{FC83FA74-9C6C-494A-B4A7-F24DFB5E5CF4}" dt="2023-06-11T11:28:12.121" v="7290" actId="478"/>
          <ac:grpSpMkLst>
            <pc:docMk/>
            <pc:sldMk cId="1359187073" sldId="3729"/>
            <ac:grpSpMk id="112" creationId="{5B5EEDAB-57BA-4831-85D0-1C9E316A424D}"/>
          </ac:grpSpMkLst>
        </pc:grpChg>
        <pc:picChg chg="add mod">
          <ac:chgData name="Scott Sink" userId="007532c1-63dd-4f29-9932-df3a9735f490" providerId="ADAL" clId="{FC83FA74-9C6C-494A-B4A7-F24DFB5E5CF4}" dt="2023-06-11T11:28:56.121" v="7302" actId="571"/>
          <ac:picMkLst>
            <pc:docMk/>
            <pc:sldMk cId="1359187073" sldId="3729"/>
            <ac:picMk id="3" creationId="{EE5D77D0-16ED-CFD2-F2DB-783912837963}"/>
          </ac:picMkLst>
        </pc:picChg>
        <pc:picChg chg="mod">
          <ac:chgData name="Scott Sink" userId="007532c1-63dd-4f29-9932-df3a9735f490" providerId="ADAL" clId="{FC83FA74-9C6C-494A-B4A7-F24DFB5E5CF4}" dt="2023-06-11T11:28:40.246" v="7298" actId="1076"/>
          <ac:picMkLst>
            <pc:docMk/>
            <pc:sldMk cId="1359187073" sldId="3729"/>
            <ac:picMk id="19" creationId="{C722F620-7C0D-4868-B175-317B4B45599F}"/>
          </ac:picMkLst>
        </pc:picChg>
        <pc:picChg chg="del">
          <ac:chgData name="Scott Sink" userId="007532c1-63dd-4f29-9932-df3a9735f490" providerId="ADAL" clId="{FC83FA74-9C6C-494A-B4A7-F24DFB5E5CF4}" dt="2023-06-11T11:28:16.362" v="7292" actId="478"/>
          <ac:picMkLst>
            <pc:docMk/>
            <pc:sldMk cId="1359187073" sldId="3729"/>
            <ac:picMk id="1030" creationId="{A9683ACE-C08E-4FCF-B9FB-5AF3710313D8}"/>
          </ac:picMkLst>
        </pc:picChg>
        <pc:cxnChg chg="mod">
          <ac:chgData name="Scott Sink" userId="007532c1-63dd-4f29-9932-df3a9735f490" providerId="ADAL" clId="{FC83FA74-9C6C-494A-B4A7-F24DFB5E5CF4}" dt="2023-06-11T11:29:02.940" v="7303"/>
          <ac:cxnSpMkLst>
            <pc:docMk/>
            <pc:sldMk cId="1359187073" sldId="3729"/>
            <ac:cxnSpMk id="7" creationId="{EC609BC6-8D8E-0464-17C2-55DF16E2D35A}"/>
          </ac:cxnSpMkLst>
        </pc:cxnChg>
        <pc:cxnChg chg="mod">
          <ac:chgData name="Scott Sink" userId="007532c1-63dd-4f29-9932-df3a9735f490" providerId="ADAL" clId="{FC83FA74-9C6C-494A-B4A7-F24DFB5E5CF4}" dt="2023-06-11T11:29:02.940" v="7303"/>
          <ac:cxnSpMkLst>
            <pc:docMk/>
            <pc:sldMk cId="1359187073" sldId="3729"/>
            <ac:cxnSpMk id="8" creationId="{73BB92D1-F14D-A0DA-68D7-1CDE0C5AB30A}"/>
          </ac:cxnSpMkLst>
        </pc:cxnChg>
        <pc:cxnChg chg="mod">
          <ac:chgData name="Scott Sink" userId="007532c1-63dd-4f29-9932-df3a9735f490" providerId="ADAL" clId="{FC83FA74-9C6C-494A-B4A7-F24DFB5E5CF4}" dt="2023-06-11T11:29:02.940" v="7303"/>
          <ac:cxnSpMkLst>
            <pc:docMk/>
            <pc:sldMk cId="1359187073" sldId="3729"/>
            <ac:cxnSpMk id="9" creationId="{1941F0FE-ACD5-3F66-5A83-E3FE3DBA1367}"/>
          </ac:cxnSpMkLst>
        </pc:cxnChg>
        <pc:cxnChg chg="mod">
          <ac:chgData name="Scott Sink" userId="007532c1-63dd-4f29-9932-df3a9735f490" providerId="ADAL" clId="{FC83FA74-9C6C-494A-B4A7-F24DFB5E5CF4}" dt="2023-06-11T11:29:02.940" v="7303"/>
          <ac:cxnSpMkLst>
            <pc:docMk/>
            <pc:sldMk cId="1359187073" sldId="3729"/>
            <ac:cxnSpMk id="11" creationId="{E493491B-211F-2FE2-7EBE-3C3537BE0DD5}"/>
          </ac:cxnSpMkLst>
        </pc:cxnChg>
        <pc:cxnChg chg="mod">
          <ac:chgData name="Scott Sink" userId="007532c1-63dd-4f29-9932-df3a9735f490" providerId="ADAL" clId="{FC83FA74-9C6C-494A-B4A7-F24DFB5E5CF4}" dt="2023-06-11T11:29:49.826" v="7333"/>
          <ac:cxnSpMkLst>
            <pc:docMk/>
            <pc:sldMk cId="1359187073" sldId="3729"/>
            <ac:cxnSpMk id="15" creationId="{E686B793-C6DA-7C3B-B122-9A59F677E552}"/>
          </ac:cxnSpMkLst>
        </pc:cxnChg>
        <pc:cxnChg chg="mod">
          <ac:chgData name="Scott Sink" userId="007532c1-63dd-4f29-9932-df3a9735f490" providerId="ADAL" clId="{FC83FA74-9C6C-494A-B4A7-F24DFB5E5CF4}" dt="2023-06-11T11:29:49.826" v="7333"/>
          <ac:cxnSpMkLst>
            <pc:docMk/>
            <pc:sldMk cId="1359187073" sldId="3729"/>
            <ac:cxnSpMk id="16" creationId="{2D861903-DF8D-E631-5CBC-E734D55EA688}"/>
          </ac:cxnSpMkLst>
        </pc:cxnChg>
        <pc:cxnChg chg="mod">
          <ac:chgData name="Scott Sink" userId="007532c1-63dd-4f29-9932-df3a9735f490" providerId="ADAL" clId="{FC83FA74-9C6C-494A-B4A7-F24DFB5E5CF4}" dt="2023-06-11T11:29:49.826" v="7333"/>
          <ac:cxnSpMkLst>
            <pc:docMk/>
            <pc:sldMk cId="1359187073" sldId="3729"/>
            <ac:cxnSpMk id="17" creationId="{635A3B2F-55AD-4D72-BC05-2B712D4F7C3D}"/>
          </ac:cxnSpMkLst>
        </pc:cxnChg>
        <pc:cxnChg chg="mod">
          <ac:chgData name="Scott Sink" userId="007532c1-63dd-4f29-9932-df3a9735f490" providerId="ADAL" clId="{FC83FA74-9C6C-494A-B4A7-F24DFB5E5CF4}" dt="2023-06-11T11:29:49.826" v="7333"/>
          <ac:cxnSpMkLst>
            <pc:docMk/>
            <pc:sldMk cId="1359187073" sldId="3729"/>
            <ac:cxnSpMk id="18" creationId="{07820D9A-9541-3A35-D76D-9988AE42D963}"/>
          </ac:cxnSpMkLst>
        </pc:cxnChg>
      </pc:sldChg>
      <pc:sldChg chg="delSp modSp add del mod ord">
        <pc:chgData name="Scott Sink" userId="007532c1-63dd-4f29-9932-df3a9735f490" providerId="ADAL" clId="{FC83FA74-9C6C-494A-B4A7-F24DFB5E5CF4}" dt="2023-06-12T08:49:08.564" v="7637" actId="208"/>
        <pc:sldMkLst>
          <pc:docMk/>
          <pc:sldMk cId="119098387" sldId="3730"/>
        </pc:sldMkLst>
        <pc:spChg chg="mod">
          <ac:chgData name="Scott Sink" userId="007532c1-63dd-4f29-9932-df3a9735f490" providerId="ADAL" clId="{FC83FA74-9C6C-494A-B4A7-F24DFB5E5CF4}" dt="2023-06-12T08:46:37.832" v="7629" actId="478"/>
          <ac:spMkLst>
            <pc:docMk/>
            <pc:sldMk cId="119098387" sldId="3730"/>
            <ac:spMk id="5" creationId="{1CFCAD91-B0F7-4F0D-A039-4E997C3137E9}"/>
          </ac:spMkLst>
        </pc:spChg>
        <pc:spChg chg="mod">
          <ac:chgData name="Scott Sink" userId="007532c1-63dd-4f29-9932-df3a9735f490" providerId="ADAL" clId="{FC83FA74-9C6C-494A-B4A7-F24DFB5E5CF4}" dt="2023-06-12T08:46:37.832" v="7629" actId="478"/>
          <ac:spMkLst>
            <pc:docMk/>
            <pc:sldMk cId="119098387" sldId="3730"/>
            <ac:spMk id="8" creationId="{A31D1CF0-F471-413F-8950-7C34FED0A775}"/>
          </ac:spMkLst>
        </pc:spChg>
        <pc:spChg chg="mod">
          <ac:chgData name="Scott Sink" userId="007532c1-63dd-4f29-9932-df3a9735f490" providerId="ADAL" clId="{FC83FA74-9C6C-494A-B4A7-F24DFB5E5CF4}" dt="2023-06-12T08:46:37.832" v="7629" actId="478"/>
          <ac:spMkLst>
            <pc:docMk/>
            <pc:sldMk cId="119098387" sldId="3730"/>
            <ac:spMk id="9" creationId="{CE26577A-1A83-459D-9D29-595E63A23AB9}"/>
          </ac:spMkLst>
        </pc:spChg>
        <pc:spChg chg="mod">
          <ac:chgData name="Scott Sink" userId="007532c1-63dd-4f29-9932-df3a9735f490" providerId="ADAL" clId="{FC83FA74-9C6C-494A-B4A7-F24DFB5E5CF4}" dt="2023-06-12T08:46:37.832" v="7629" actId="478"/>
          <ac:spMkLst>
            <pc:docMk/>
            <pc:sldMk cId="119098387" sldId="3730"/>
            <ac:spMk id="10" creationId="{B248822B-B4B5-4968-BE76-F9CCBFF3EF29}"/>
          </ac:spMkLst>
        </pc:spChg>
        <pc:spChg chg="mod">
          <ac:chgData name="Scott Sink" userId="007532c1-63dd-4f29-9932-df3a9735f490" providerId="ADAL" clId="{FC83FA74-9C6C-494A-B4A7-F24DFB5E5CF4}" dt="2023-06-12T08:46:37.832" v="7629" actId="478"/>
          <ac:spMkLst>
            <pc:docMk/>
            <pc:sldMk cId="119098387" sldId="3730"/>
            <ac:spMk id="11" creationId="{F9F73316-CB56-4185-991C-03119509D8E3}"/>
          </ac:spMkLst>
        </pc:spChg>
        <pc:spChg chg="mod">
          <ac:chgData name="Scott Sink" userId="007532c1-63dd-4f29-9932-df3a9735f490" providerId="ADAL" clId="{FC83FA74-9C6C-494A-B4A7-F24DFB5E5CF4}" dt="2023-06-12T08:46:37.832" v="7629" actId="478"/>
          <ac:spMkLst>
            <pc:docMk/>
            <pc:sldMk cId="119098387" sldId="3730"/>
            <ac:spMk id="21" creationId="{AFACE195-A7A4-4C23-896A-042A86F95A70}"/>
          </ac:spMkLst>
        </pc:spChg>
        <pc:spChg chg="mod">
          <ac:chgData name="Scott Sink" userId="007532c1-63dd-4f29-9932-df3a9735f490" providerId="ADAL" clId="{FC83FA74-9C6C-494A-B4A7-F24DFB5E5CF4}" dt="2023-06-12T08:49:02.936" v="7636" actId="208"/>
          <ac:spMkLst>
            <pc:docMk/>
            <pc:sldMk cId="119098387" sldId="3730"/>
            <ac:spMk id="23" creationId="{48773753-88F0-4030-85B1-0FAD47D42813}"/>
          </ac:spMkLst>
        </pc:spChg>
        <pc:spChg chg="mod">
          <ac:chgData name="Scott Sink" userId="007532c1-63dd-4f29-9932-df3a9735f490" providerId="ADAL" clId="{FC83FA74-9C6C-494A-B4A7-F24DFB5E5CF4}" dt="2023-06-12T08:49:08.564" v="7637" actId="208"/>
          <ac:spMkLst>
            <pc:docMk/>
            <pc:sldMk cId="119098387" sldId="3730"/>
            <ac:spMk id="25" creationId="{2B41229C-F5CD-4E4E-B684-7F2083F6FB50}"/>
          </ac:spMkLst>
        </pc:spChg>
        <pc:spChg chg="mod">
          <ac:chgData name="Scott Sink" userId="007532c1-63dd-4f29-9932-df3a9735f490" providerId="ADAL" clId="{FC83FA74-9C6C-494A-B4A7-F24DFB5E5CF4}" dt="2023-06-12T08:46:37.832" v="7629" actId="478"/>
          <ac:spMkLst>
            <pc:docMk/>
            <pc:sldMk cId="119098387" sldId="3730"/>
            <ac:spMk id="26" creationId="{3C7B199D-F5CD-4DAC-A1DF-509104F6EB75}"/>
          </ac:spMkLst>
        </pc:spChg>
        <pc:spChg chg="del">
          <ac:chgData name="Scott Sink" userId="007532c1-63dd-4f29-9932-df3a9735f490" providerId="ADAL" clId="{FC83FA74-9C6C-494A-B4A7-F24DFB5E5CF4}" dt="2023-06-12T08:46:25.694" v="7626" actId="478"/>
          <ac:spMkLst>
            <pc:docMk/>
            <pc:sldMk cId="119098387" sldId="3730"/>
            <ac:spMk id="27" creationId="{2FF7A2AB-60D0-4ADF-A924-E524B3115835}"/>
          </ac:spMkLst>
        </pc:spChg>
        <pc:spChg chg="del">
          <ac:chgData name="Scott Sink" userId="007532c1-63dd-4f29-9932-df3a9735f490" providerId="ADAL" clId="{FC83FA74-9C6C-494A-B4A7-F24DFB5E5CF4}" dt="2023-06-12T08:46:37.832" v="7629" actId="478"/>
          <ac:spMkLst>
            <pc:docMk/>
            <pc:sldMk cId="119098387" sldId="3730"/>
            <ac:spMk id="28" creationId="{0149BC82-5294-4D46-B818-5B7F243B9D16}"/>
          </ac:spMkLst>
        </pc:spChg>
        <pc:spChg chg="mod">
          <ac:chgData name="Scott Sink" userId="007532c1-63dd-4f29-9932-df3a9735f490" providerId="ADAL" clId="{FC83FA74-9C6C-494A-B4A7-F24DFB5E5CF4}" dt="2023-06-12T08:46:37.832" v="7629" actId="478"/>
          <ac:spMkLst>
            <pc:docMk/>
            <pc:sldMk cId="119098387" sldId="3730"/>
            <ac:spMk id="29" creationId="{4DDD79A7-7543-4ECD-A368-E9ACD507C43E}"/>
          </ac:spMkLst>
        </pc:spChg>
        <pc:spChg chg="mod">
          <ac:chgData name="Scott Sink" userId="007532c1-63dd-4f29-9932-df3a9735f490" providerId="ADAL" clId="{FC83FA74-9C6C-494A-B4A7-F24DFB5E5CF4}" dt="2023-06-12T08:46:37.832" v="7629" actId="478"/>
          <ac:spMkLst>
            <pc:docMk/>
            <pc:sldMk cId="119098387" sldId="3730"/>
            <ac:spMk id="30" creationId="{BFCB82B5-6012-401F-8659-BCA91AB63664}"/>
          </ac:spMkLst>
        </pc:spChg>
        <pc:spChg chg="mod">
          <ac:chgData name="Scott Sink" userId="007532c1-63dd-4f29-9932-df3a9735f490" providerId="ADAL" clId="{FC83FA74-9C6C-494A-B4A7-F24DFB5E5CF4}" dt="2023-06-12T08:46:37.832" v="7629" actId="478"/>
          <ac:spMkLst>
            <pc:docMk/>
            <pc:sldMk cId="119098387" sldId="3730"/>
            <ac:spMk id="31" creationId="{9A8B9EA3-F8E1-4010-BDD7-B509149F0D8B}"/>
          </ac:spMkLst>
        </pc:spChg>
        <pc:spChg chg="mod">
          <ac:chgData name="Scott Sink" userId="007532c1-63dd-4f29-9932-df3a9735f490" providerId="ADAL" clId="{FC83FA74-9C6C-494A-B4A7-F24DFB5E5CF4}" dt="2023-06-12T08:46:37.832" v="7629" actId="478"/>
          <ac:spMkLst>
            <pc:docMk/>
            <pc:sldMk cId="119098387" sldId="3730"/>
            <ac:spMk id="32" creationId="{96CC856B-486B-4F24-8F23-CA9FC6162F9C}"/>
          </ac:spMkLst>
        </pc:spChg>
        <pc:spChg chg="mod">
          <ac:chgData name="Scott Sink" userId="007532c1-63dd-4f29-9932-df3a9735f490" providerId="ADAL" clId="{FC83FA74-9C6C-494A-B4A7-F24DFB5E5CF4}" dt="2023-06-12T08:46:37.832" v="7629" actId="478"/>
          <ac:spMkLst>
            <pc:docMk/>
            <pc:sldMk cId="119098387" sldId="3730"/>
            <ac:spMk id="39" creationId="{89B5AFD2-24B7-463A-A991-FD59943D6F40}"/>
          </ac:spMkLst>
        </pc:spChg>
        <pc:grpChg chg="mod">
          <ac:chgData name="Scott Sink" userId="007532c1-63dd-4f29-9932-df3a9735f490" providerId="ADAL" clId="{FC83FA74-9C6C-494A-B4A7-F24DFB5E5CF4}" dt="2023-06-12T08:46:37.832" v="7629" actId="478"/>
          <ac:grpSpMkLst>
            <pc:docMk/>
            <pc:sldMk cId="119098387" sldId="3730"/>
            <ac:grpSpMk id="2" creationId="{C6219531-88F5-40A5-A039-B586DA3EC594}"/>
          </ac:grpSpMkLst>
        </pc:grpChg>
        <pc:picChg chg="mod">
          <ac:chgData name="Scott Sink" userId="007532c1-63dd-4f29-9932-df3a9735f490" providerId="ADAL" clId="{FC83FA74-9C6C-494A-B4A7-F24DFB5E5CF4}" dt="2023-06-12T08:46:37.832" v="7629" actId="478"/>
          <ac:picMkLst>
            <pc:docMk/>
            <pc:sldMk cId="119098387" sldId="3730"/>
            <ac:picMk id="68633" creationId="{1031AA4C-A6FD-4C7C-A144-B6C83431A0F2}"/>
          </ac:picMkLst>
        </pc:picChg>
        <pc:cxnChg chg="mod">
          <ac:chgData name="Scott Sink" userId="007532c1-63dd-4f29-9932-df3a9735f490" providerId="ADAL" clId="{FC83FA74-9C6C-494A-B4A7-F24DFB5E5CF4}" dt="2023-06-12T08:46:37.832" v="7629" actId="478"/>
          <ac:cxnSpMkLst>
            <pc:docMk/>
            <pc:sldMk cId="119098387" sldId="3730"/>
            <ac:cxnSpMk id="16" creationId="{ECFD1F2F-4772-448A-899E-933B87CD8A36}"/>
          </ac:cxnSpMkLst>
        </pc:cxnChg>
        <pc:cxnChg chg="mod">
          <ac:chgData name="Scott Sink" userId="007532c1-63dd-4f29-9932-df3a9735f490" providerId="ADAL" clId="{FC83FA74-9C6C-494A-B4A7-F24DFB5E5CF4}" dt="2023-06-12T08:46:37.832" v="7629" actId="478"/>
          <ac:cxnSpMkLst>
            <pc:docMk/>
            <pc:sldMk cId="119098387" sldId="3730"/>
            <ac:cxnSpMk id="34" creationId="{9DBFCDF8-7155-48EA-8DD3-1EFD4EEFE83C}"/>
          </ac:cxnSpMkLst>
        </pc:cxnChg>
        <pc:cxnChg chg="mod">
          <ac:chgData name="Scott Sink" userId="007532c1-63dd-4f29-9932-df3a9735f490" providerId="ADAL" clId="{FC83FA74-9C6C-494A-B4A7-F24DFB5E5CF4}" dt="2023-06-12T08:46:37.832" v="7629" actId="478"/>
          <ac:cxnSpMkLst>
            <pc:docMk/>
            <pc:sldMk cId="119098387" sldId="3730"/>
            <ac:cxnSpMk id="41" creationId="{EE7833D6-17C3-45A9-B47E-B79684DC2B8B}"/>
          </ac:cxnSpMkLst>
        </pc:cxnChg>
      </pc:sldChg>
      <pc:sldChg chg="add ord">
        <pc:chgData name="Scott Sink" userId="007532c1-63dd-4f29-9932-df3a9735f490" providerId="ADAL" clId="{FC83FA74-9C6C-494A-B4A7-F24DFB5E5CF4}" dt="2023-06-13T06:19:44.916" v="12914"/>
        <pc:sldMkLst>
          <pc:docMk/>
          <pc:sldMk cId="4117063728" sldId="3731"/>
        </pc:sldMkLst>
      </pc:sldChg>
      <pc:sldChg chg="delSp modSp add mod">
        <pc:chgData name="Scott Sink" userId="007532c1-63dd-4f29-9932-df3a9735f490" providerId="ADAL" clId="{FC83FA74-9C6C-494A-B4A7-F24DFB5E5CF4}" dt="2023-06-13T06:21:51.963" v="12966" actId="20577"/>
        <pc:sldMkLst>
          <pc:docMk/>
          <pc:sldMk cId="1765412184" sldId="3732"/>
        </pc:sldMkLst>
        <pc:spChg chg="mod">
          <ac:chgData name="Scott Sink" userId="007532c1-63dd-4f29-9932-df3a9735f490" providerId="ADAL" clId="{FC83FA74-9C6C-494A-B4A7-F24DFB5E5CF4}" dt="2023-06-12T08:59:13.149" v="7670" actId="20577"/>
          <ac:spMkLst>
            <pc:docMk/>
            <pc:sldMk cId="1765412184" sldId="3732"/>
            <ac:spMk id="2" creationId="{00000000-0000-0000-0000-000000000000}"/>
          </ac:spMkLst>
        </pc:spChg>
        <pc:spChg chg="mod">
          <ac:chgData name="Scott Sink" userId="007532c1-63dd-4f29-9932-df3a9735f490" providerId="ADAL" clId="{FC83FA74-9C6C-494A-B4A7-F24DFB5E5CF4}" dt="2023-06-13T06:21:51.963" v="12966" actId="20577"/>
          <ac:spMkLst>
            <pc:docMk/>
            <pc:sldMk cId="1765412184" sldId="3732"/>
            <ac:spMk id="3" creationId="{00000000-0000-0000-0000-000000000000}"/>
          </ac:spMkLst>
        </pc:spChg>
        <pc:spChg chg="del">
          <ac:chgData name="Scott Sink" userId="007532c1-63dd-4f29-9932-df3a9735f490" providerId="ADAL" clId="{FC83FA74-9C6C-494A-B4A7-F24DFB5E5CF4}" dt="2023-06-12T08:59:05.660" v="7658" actId="478"/>
          <ac:spMkLst>
            <pc:docMk/>
            <pc:sldMk cId="1765412184" sldId="3732"/>
            <ac:spMk id="4" creationId="{00000000-0000-0000-0000-000000000000}"/>
          </ac:spMkLst>
        </pc:spChg>
      </pc:sldChg>
      <pc:sldChg chg="delSp modSp add mod">
        <pc:chgData name="Scott Sink" userId="007532c1-63dd-4f29-9932-df3a9735f490" providerId="ADAL" clId="{FC83FA74-9C6C-494A-B4A7-F24DFB5E5CF4}" dt="2023-06-13T06:24:01.028" v="13172" actId="20577"/>
        <pc:sldMkLst>
          <pc:docMk/>
          <pc:sldMk cId="3309833769" sldId="3733"/>
        </pc:sldMkLst>
        <pc:spChg chg="mod">
          <ac:chgData name="Scott Sink" userId="007532c1-63dd-4f29-9932-df3a9735f490" providerId="ADAL" clId="{FC83FA74-9C6C-494A-B4A7-F24DFB5E5CF4}" dt="2023-06-12T09:00:57.804" v="7966" actId="20577"/>
          <ac:spMkLst>
            <pc:docMk/>
            <pc:sldMk cId="3309833769" sldId="3733"/>
            <ac:spMk id="2" creationId="{00000000-0000-0000-0000-000000000000}"/>
          </ac:spMkLst>
        </pc:spChg>
        <pc:spChg chg="mod">
          <ac:chgData name="Scott Sink" userId="007532c1-63dd-4f29-9932-df3a9735f490" providerId="ADAL" clId="{FC83FA74-9C6C-494A-B4A7-F24DFB5E5CF4}" dt="2023-06-13T06:24:01.028" v="13172" actId="20577"/>
          <ac:spMkLst>
            <pc:docMk/>
            <pc:sldMk cId="3309833769" sldId="3733"/>
            <ac:spMk id="3" creationId="{00000000-0000-0000-0000-000000000000}"/>
          </ac:spMkLst>
        </pc:spChg>
        <pc:spChg chg="del">
          <ac:chgData name="Scott Sink" userId="007532c1-63dd-4f29-9932-df3a9735f490" providerId="ADAL" clId="{FC83FA74-9C6C-494A-B4A7-F24DFB5E5CF4}" dt="2023-06-12T09:01:35.110" v="8038" actId="478"/>
          <ac:spMkLst>
            <pc:docMk/>
            <pc:sldMk cId="3309833769" sldId="3733"/>
            <ac:spMk id="4" creationId="{00000000-0000-0000-0000-000000000000}"/>
          </ac:spMkLst>
        </pc:spChg>
      </pc:sldChg>
      <pc:sldChg chg="modSp add mod">
        <pc:chgData name="Scott Sink" userId="007532c1-63dd-4f29-9932-df3a9735f490" providerId="ADAL" clId="{FC83FA74-9C6C-494A-B4A7-F24DFB5E5CF4}" dt="2023-06-13T06:27:25.769" v="13571" actId="27636"/>
        <pc:sldMkLst>
          <pc:docMk/>
          <pc:sldMk cId="3254246654" sldId="3734"/>
        </pc:sldMkLst>
        <pc:spChg chg="mod">
          <ac:chgData name="Scott Sink" userId="007532c1-63dd-4f29-9932-df3a9735f490" providerId="ADAL" clId="{FC83FA74-9C6C-494A-B4A7-F24DFB5E5CF4}" dt="2023-06-13T06:27:23.116" v="13569" actId="1076"/>
          <ac:spMkLst>
            <pc:docMk/>
            <pc:sldMk cId="3254246654" sldId="3734"/>
            <ac:spMk id="2" creationId="{00000000-0000-0000-0000-000000000000}"/>
          </ac:spMkLst>
        </pc:spChg>
        <pc:spChg chg="mod">
          <ac:chgData name="Scott Sink" userId="007532c1-63dd-4f29-9932-df3a9735f490" providerId="ADAL" clId="{FC83FA74-9C6C-494A-B4A7-F24DFB5E5CF4}" dt="2023-06-13T06:27:25.769" v="13571" actId="27636"/>
          <ac:spMkLst>
            <pc:docMk/>
            <pc:sldMk cId="3254246654" sldId="3734"/>
            <ac:spMk id="3" creationId="{00000000-0000-0000-0000-000000000000}"/>
          </ac:spMkLst>
        </pc:spChg>
      </pc:sldChg>
      <pc:sldChg chg="add ord">
        <pc:chgData name="Scott Sink" userId="007532c1-63dd-4f29-9932-df3a9735f490" providerId="ADAL" clId="{FC83FA74-9C6C-494A-B4A7-F24DFB5E5CF4}" dt="2023-06-13T14:40:12.659" v="14488"/>
        <pc:sldMkLst>
          <pc:docMk/>
          <pc:sldMk cId="3582924897" sldId="3735"/>
        </pc:sldMkLst>
      </pc:sldChg>
      <pc:sldChg chg="add">
        <pc:chgData name="Scott Sink" userId="007532c1-63dd-4f29-9932-df3a9735f490" providerId="ADAL" clId="{FC83FA74-9C6C-494A-B4A7-F24DFB5E5CF4}" dt="2023-06-12T09:04:44.133" v="8064"/>
        <pc:sldMkLst>
          <pc:docMk/>
          <pc:sldMk cId="3706266293" sldId="3736"/>
        </pc:sldMkLst>
      </pc:sldChg>
      <pc:sldChg chg="addSp delSp modSp new mod">
        <pc:chgData name="Scott Sink" userId="007532c1-63dd-4f29-9932-df3a9735f490" providerId="ADAL" clId="{FC83FA74-9C6C-494A-B4A7-F24DFB5E5CF4}" dt="2023-06-12T09:30:14.643" v="8907" actId="1076"/>
        <pc:sldMkLst>
          <pc:docMk/>
          <pc:sldMk cId="89679871" sldId="3737"/>
        </pc:sldMkLst>
        <pc:spChg chg="mod">
          <ac:chgData name="Scott Sink" userId="007532c1-63dd-4f29-9932-df3a9735f490" providerId="ADAL" clId="{FC83FA74-9C6C-494A-B4A7-F24DFB5E5CF4}" dt="2023-06-12T09:10:44.653" v="8365" actId="404"/>
          <ac:spMkLst>
            <pc:docMk/>
            <pc:sldMk cId="89679871" sldId="3737"/>
            <ac:spMk id="2" creationId="{497C1C4B-9B45-9F7F-7CC7-F40B273F38EF}"/>
          </ac:spMkLst>
        </pc:spChg>
        <pc:spChg chg="del">
          <ac:chgData name="Scott Sink" userId="007532c1-63dd-4f29-9932-df3a9735f490" providerId="ADAL" clId="{FC83FA74-9C6C-494A-B4A7-F24DFB5E5CF4}" dt="2023-06-12T09:09:45.686" v="8322" actId="478"/>
          <ac:spMkLst>
            <pc:docMk/>
            <pc:sldMk cId="89679871" sldId="3737"/>
            <ac:spMk id="3" creationId="{4C2790D9-5C44-C416-915E-979B66653F7F}"/>
          </ac:spMkLst>
        </pc:spChg>
        <pc:spChg chg="add mod">
          <ac:chgData name="Scott Sink" userId="007532c1-63dd-4f29-9932-df3a9735f490" providerId="ADAL" clId="{FC83FA74-9C6C-494A-B4A7-F24DFB5E5CF4}" dt="2023-06-12T09:10:52.655" v="8366" actId="207"/>
          <ac:spMkLst>
            <pc:docMk/>
            <pc:sldMk cId="89679871" sldId="3737"/>
            <ac:spMk id="4" creationId="{485F5316-08B8-8EFF-F36D-A57C3DBBE398}"/>
          </ac:spMkLst>
        </pc:spChg>
        <pc:spChg chg="add mod">
          <ac:chgData name="Scott Sink" userId="007532c1-63dd-4f29-9932-df3a9735f490" providerId="ADAL" clId="{FC83FA74-9C6C-494A-B4A7-F24DFB5E5CF4}" dt="2023-06-12T09:28:16.823" v="8892" actId="207"/>
          <ac:spMkLst>
            <pc:docMk/>
            <pc:sldMk cId="89679871" sldId="3737"/>
            <ac:spMk id="5" creationId="{33DB4E3F-E37E-9790-9ACE-806BF253F4E1}"/>
          </ac:spMkLst>
        </pc:spChg>
        <pc:spChg chg="add mod">
          <ac:chgData name="Scott Sink" userId="007532c1-63dd-4f29-9932-df3a9735f490" providerId="ADAL" clId="{FC83FA74-9C6C-494A-B4A7-F24DFB5E5CF4}" dt="2023-06-12T09:26:42.676" v="8851" actId="1076"/>
          <ac:spMkLst>
            <pc:docMk/>
            <pc:sldMk cId="89679871" sldId="3737"/>
            <ac:spMk id="6" creationId="{3CA71570-6B1E-E585-4771-D466FFB3B7E5}"/>
          </ac:spMkLst>
        </pc:spChg>
        <pc:spChg chg="add mod">
          <ac:chgData name="Scott Sink" userId="007532c1-63dd-4f29-9932-df3a9735f490" providerId="ADAL" clId="{FC83FA74-9C6C-494A-B4A7-F24DFB5E5CF4}" dt="2023-06-12T09:28:04.124" v="8891" actId="207"/>
          <ac:spMkLst>
            <pc:docMk/>
            <pc:sldMk cId="89679871" sldId="3737"/>
            <ac:spMk id="7" creationId="{DD5BFD8B-1A77-84AF-9F16-21772F5973B0}"/>
          </ac:spMkLst>
        </pc:spChg>
        <pc:spChg chg="add mod">
          <ac:chgData name="Scott Sink" userId="007532c1-63dd-4f29-9932-df3a9735f490" providerId="ADAL" clId="{FC83FA74-9C6C-494A-B4A7-F24DFB5E5CF4}" dt="2023-06-12T09:30:07.772" v="8906" actId="1076"/>
          <ac:spMkLst>
            <pc:docMk/>
            <pc:sldMk cId="89679871" sldId="3737"/>
            <ac:spMk id="8" creationId="{3D777DA8-4ED9-F60B-801A-2C4602162F24}"/>
          </ac:spMkLst>
        </pc:spChg>
        <pc:spChg chg="add mod">
          <ac:chgData name="Scott Sink" userId="007532c1-63dd-4f29-9932-df3a9735f490" providerId="ADAL" clId="{FC83FA74-9C6C-494A-B4A7-F24DFB5E5CF4}" dt="2023-06-12T09:28:41.981" v="8899" actId="20577"/>
          <ac:spMkLst>
            <pc:docMk/>
            <pc:sldMk cId="89679871" sldId="3737"/>
            <ac:spMk id="9" creationId="{4B5D45A9-EB7D-B62E-C46E-F31D365FD796}"/>
          </ac:spMkLst>
        </pc:spChg>
        <pc:spChg chg="add mod">
          <ac:chgData name="Scott Sink" userId="007532c1-63dd-4f29-9932-df3a9735f490" providerId="ADAL" clId="{FC83FA74-9C6C-494A-B4A7-F24DFB5E5CF4}" dt="2023-06-12T09:29:45.527" v="8904" actId="403"/>
          <ac:spMkLst>
            <pc:docMk/>
            <pc:sldMk cId="89679871" sldId="3737"/>
            <ac:spMk id="10" creationId="{1B03DC4D-1046-34EE-FDE0-100D01B67958}"/>
          </ac:spMkLst>
        </pc:spChg>
        <pc:spChg chg="add mod">
          <ac:chgData name="Scott Sink" userId="007532c1-63dd-4f29-9932-df3a9735f490" providerId="ADAL" clId="{FC83FA74-9C6C-494A-B4A7-F24DFB5E5CF4}" dt="2023-06-12T09:30:14.643" v="8907" actId="1076"/>
          <ac:spMkLst>
            <pc:docMk/>
            <pc:sldMk cId="89679871" sldId="3737"/>
            <ac:spMk id="11" creationId="{B848FBAB-E539-FDBA-F381-5614B7D9B0E4}"/>
          </ac:spMkLst>
        </pc:spChg>
        <pc:spChg chg="add mod">
          <ac:chgData name="Scott Sink" userId="007532c1-63dd-4f29-9932-df3a9735f490" providerId="ADAL" clId="{FC83FA74-9C6C-494A-B4A7-F24DFB5E5CF4}" dt="2023-06-12T09:27:56.496" v="8890" actId="207"/>
          <ac:spMkLst>
            <pc:docMk/>
            <pc:sldMk cId="89679871" sldId="3737"/>
            <ac:spMk id="12" creationId="{00ED43EC-03E5-F901-3884-06B9F131636A}"/>
          </ac:spMkLst>
        </pc:spChg>
        <pc:spChg chg="add mod">
          <ac:chgData name="Scott Sink" userId="007532c1-63dd-4f29-9932-df3a9735f490" providerId="ADAL" clId="{FC83FA74-9C6C-494A-B4A7-F24DFB5E5CF4}" dt="2023-06-12T09:22:28.430" v="8831" actId="1076"/>
          <ac:spMkLst>
            <pc:docMk/>
            <pc:sldMk cId="89679871" sldId="3737"/>
            <ac:spMk id="13" creationId="{FF7A4EB0-85E2-662A-E903-EDF477898837}"/>
          </ac:spMkLst>
        </pc:spChg>
        <pc:spChg chg="add mod">
          <ac:chgData name="Scott Sink" userId="007532c1-63dd-4f29-9932-df3a9735f490" providerId="ADAL" clId="{FC83FA74-9C6C-494A-B4A7-F24DFB5E5CF4}" dt="2023-06-12T09:22:38.713" v="8835" actId="20577"/>
          <ac:spMkLst>
            <pc:docMk/>
            <pc:sldMk cId="89679871" sldId="3737"/>
            <ac:spMk id="14" creationId="{D13418A5-7384-9AC3-7708-199758713B5B}"/>
          </ac:spMkLst>
        </pc:spChg>
        <pc:spChg chg="add mod">
          <ac:chgData name="Scott Sink" userId="007532c1-63dd-4f29-9932-df3a9735f490" providerId="ADAL" clId="{FC83FA74-9C6C-494A-B4A7-F24DFB5E5CF4}" dt="2023-06-12T09:22:50.926" v="8839" actId="20577"/>
          <ac:spMkLst>
            <pc:docMk/>
            <pc:sldMk cId="89679871" sldId="3737"/>
            <ac:spMk id="15" creationId="{E7C439FC-F268-8558-204A-0B4B15BBB394}"/>
          </ac:spMkLst>
        </pc:spChg>
        <pc:spChg chg="add mod">
          <ac:chgData name="Scott Sink" userId="007532c1-63dd-4f29-9932-df3a9735f490" providerId="ADAL" clId="{FC83FA74-9C6C-494A-B4A7-F24DFB5E5CF4}" dt="2023-06-12T09:23:11.081" v="8843" actId="20577"/>
          <ac:spMkLst>
            <pc:docMk/>
            <pc:sldMk cId="89679871" sldId="3737"/>
            <ac:spMk id="16" creationId="{E330B9F3-259D-E1D7-4378-1F9B3077C908}"/>
          </ac:spMkLst>
        </pc:spChg>
        <pc:spChg chg="add mod">
          <ac:chgData name="Scott Sink" userId="007532c1-63dd-4f29-9932-df3a9735f490" providerId="ADAL" clId="{FC83FA74-9C6C-494A-B4A7-F24DFB5E5CF4}" dt="2023-06-12T09:23:28.423" v="8847" actId="20577"/>
          <ac:spMkLst>
            <pc:docMk/>
            <pc:sldMk cId="89679871" sldId="3737"/>
            <ac:spMk id="17" creationId="{6A54E594-056F-B7C5-2AC2-818A1558E5B8}"/>
          </ac:spMkLst>
        </pc:spChg>
        <pc:spChg chg="add mod">
          <ac:chgData name="Scott Sink" userId="007532c1-63dd-4f29-9932-df3a9735f490" providerId="ADAL" clId="{FC83FA74-9C6C-494A-B4A7-F24DFB5E5CF4}" dt="2023-06-12T09:27:42.256" v="8889" actId="207"/>
          <ac:spMkLst>
            <pc:docMk/>
            <pc:sldMk cId="89679871" sldId="3737"/>
            <ac:spMk id="18" creationId="{A872337B-6819-51D1-C254-672FF06CFB36}"/>
          </ac:spMkLst>
        </pc:spChg>
      </pc:sldChg>
      <pc:sldChg chg="modSp new mod">
        <pc:chgData name="Scott Sink" userId="007532c1-63dd-4f29-9932-df3a9735f490" providerId="ADAL" clId="{FC83FA74-9C6C-494A-B4A7-F24DFB5E5CF4}" dt="2023-06-13T13:55:39.900" v="14446" actId="404"/>
        <pc:sldMkLst>
          <pc:docMk/>
          <pc:sldMk cId="4163520317" sldId="3738"/>
        </pc:sldMkLst>
        <pc:spChg chg="mod">
          <ac:chgData name="Scott Sink" userId="007532c1-63dd-4f29-9932-df3a9735f490" providerId="ADAL" clId="{FC83FA74-9C6C-494A-B4A7-F24DFB5E5CF4}" dt="2023-06-12T09:30:34.910" v="8925" actId="20577"/>
          <ac:spMkLst>
            <pc:docMk/>
            <pc:sldMk cId="4163520317" sldId="3738"/>
            <ac:spMk id="2" creationId="{5D9E7292-5830-3EF5-9C81-ED8522086C4A}"/>
          </ac:spMkLst>
        </pc:spChg>
        <pc:spChg chg="mod">
          <ac:chgData name="Scott Sink" userId="007532c1-63dd-4f29-9932-df3a9735f490" providerId="ADAL" clId="{FC83FA74-9C6C-494A-B4A7-F24DFB5E5CF4}" dt="2023-06-13T13:55:39.900" v="14446" actId="404"/>
          <ac:spMkLst>
            <pc:docMk/>
            <pc:sldMk cId="4163520317" sldId="3738"/>
            <ac:spMk id="3" creationId="{FD9CA1DB-A088-85AB-0C48-4A645B9AF2F5}"/>
          </ac:spMkLst>
        </pc:spChg>
      </pc:sldChg>
      <pc:sldChg chg="modSp add mod ord">
        <pc:chgData name="Scott Sink" userId="007532c1-63dd-4f29-9932-df3a9735f490" providerId="ADAL" clId="{FC83FA74-9C6C-494A-B4A7-F24DFB5E5CF4}" dt="2023-06-13T06:19:26.151" v="12912"/>
        <pc:sldMkLst>
          <pc:docMk/>
          <pc:sldMk cId="1007212286" sldId="3739"/>
        </pc:sldMkLst>
        <pc:spChg chg="mod">
          <ac:chgData name="Scott Sink" userId="007532c1-63dd-4f29-9932-df3a9735f490" providerId="ADAL" clId="{FC83FA74-9C6C-494A-B4A7-F24DFB5E5CF4}" dt="2023-06-12T09:47:17.260" v="9545" actId="403"/>
          <ac:spMkLst>
            <pc:docMk/>
            <pc:sldMk cId="1007212286" sldId="3739"/>
            <ac:spMk id="2" creationId="{00000000-0000-0000-0000-000000000000}"/>
          </ac:spMkLst>
        </pc:spChg>
        <pc:spChg chg="mod">
          <ac:chgData name="Scott Sink" userId="007532c1-63dd-4f29-9932-df3a9735f490" providerId="ADAL" clId="{FC83FA74-9C6C-494A-B4A7-F24DFB5E5CF4}" dt="2023-06-12T09:47:22.416" v="9550" actId="27636"/>
          <ac:spMkLst>
            <pc:docMk/>
            <pc:sldMk cId="1007212286" sldId="3739"/>
            <ac:spMk id="12" creationId="{00000000-0000-0000-0000-000000000000}"/>
          </ac:spMkLst>
        </pc:spChg>
      </pc:sldChg>
      <pc:sldChg chg="modSp add mod ord">
        <pc:chgData name="Scott Sink" userId="007532c1-63dd-4f29-9932-df3a9735f490" providerId="ADAL" clId="{FC83FA74-9C6C-494A-B4A7-F24DFB5E5CF4}" dt="2023-06-13T10:39:31.158" v="14148"/>
        <pc:sldMkLst>
          <pc:docMk/>
          <pc:sldMk cId="3080365828" sldId="3740"/>
        </pc:sldMkLst>
        <pc:spChg chg="mod">
          <ac:chgData name="Scott Sink" userId="007532c1-63dd-4f29-9932-df3a9735f490" providerId="ADAL" clId="{FC83FA74-9C6C-494A-B4A7-F24DFB5E5CF4}" dt="2023-06-12T09:48:08.459" v="9560" actId="5793"/>
          <ac:spMkLst>
            <pc:docMk/>
            <pc:sldMk cId="3080365828" sldId="3740"/>
            <ac:spMk id="12" creationId="{00000000-0000-0000-0000-000000000000}"/>
          </ac:spMkLst>
        </pc:spChg>
      </pc:sldChg>
      <pc:sldChg chg="delSp modSp add mod ord delAnim">
        <pc:chgData name="Scott Sink" userId="007532c1-63dd-4f29-9932-df3a9735f490" providerId="ADAL" clId="{FC83FA74-9C6C-494A-B4A7-F24DFB5E5CF4}" dt="2023-06-13T06:21:03.836" v="12922"/>
        <pc:sldMkLst>
          <pc:docMk/>
          <pc:sldMk cId="479280247" sldId="3741"/>
        </pc:sldMkLst>
        <pc:spChg chg="mod">
          <ac:chgData name="Scott Sink" userId="007532c1-63dd-4f29-9932-df3a9735f490" providerId="ADAL" clId="{FC83FA74-9C6C-494A-B4A7-F24DFB5E5CF4}" dt="2023-06-12T09:54:25.657" v="9879" actId="20577"/>
          <ac:spMkLst>
            <pc:docMk/>
            <pc:sldMk cId="479280247" sldId="3741"/>
            <ac:spMk id="2" creationId="{36D172E6-EB4D-4CA9-B032-D89C0DD951AC}"/>
          </ac:spMkLst>
        </pc:spChg>
        <pc:spChg chg="del mod">
          <ac:chgData name="Scott Sink" userId="007532c1-63dd-4f29-9932-df3a9735f490" providerId="ADAL" clId="{FC83FA74-9C6C-494A-B4A7-F24DFB5E5CF4}" dt="2023-06-12T09:54:31.478" v="9880" actId="478"/>
          <ac:spMkLst>
            <pc:docMk/>
            <pc:sldMk cId="479280247" sldId="3741"/>
            <ac:spMk id="3" creationId="{03CA8A39-A15A-4AA8-8B0C-A8350D023F1E}"/>
          </ac:spMkLst>
        </pc:spChg>
        <pc:spChg chg="del mod">
          <ac:chgData name="Scott Sink" userId="007532c1-63dd-4f29-9932-df3a9735f490" providerId="ADAL" clId="{FC83FA74-9C6C-494A-B4A7-F24DFB5E5CF4}" dt="2023-06-12T09:51:42.593" v="9568" actId="478"/>
          <ac:spMkLst>
            <pc:docMk/>
            <pc:sldMk cId="479280247" sldId="3741"/>
            <ac:spMk id="5" creationId="{7DD0B49D-EA7E-4765-B7FD-24B967ABF624}"/>
          </ac:spMkLst>
        </pc:spChg>
        <pc:spChg chg="mod">
          <ac:chgData name="Scott Sink" userId="007532c1-63dd-4f29-9932-df3a9735f490" providerId="ADAL" clId="{FC83FA74-9C6C-494A-B4A7-F24DFB5E5CF4}" dt="2023-06-12T09:58:00.743" v="10053" actId="20577"/>
          <ac:spMkLst>
            <pc:docMk/>
            <pc:sldMk cId="479280247" sldId="3741"/>
            <ac:spMk id="24" creationId="{FB0033A8-A525-4CD7-9D36-C762174413F8}"/>
          </ac:spMkLst>
        </pc:spChg>
        <pc:grpChg chg="mod">
          <ac:chgData name="Scott Sink" userId="007532c1-63dd-4f29-9932-df3a9735f490" providerId="ADAL" clId="{FC83FA74-9C6C-494A-B4A7-F24DFB5E5CF4}" dt="2023-06-12T09:54:47.159" v="9883" actId="1076"/>
          <ac:grpSpMkLst>
            <pc:docMk/>
            <pc:sldMk cId="479280247" sldId="3741"/>
            <ac:grpSpMk id="30" creationId="{B47C8FCA-9581-44A5-8180-C56A6150303A}"/>
          </ac:grpSpMkLst>
        </pc:grpChg>
        <pc:grpChg chg="mod">
          <ac:chgData name="Scott Sink" userId="007532c1-63dd-4f29-9932-df3a9735f490" providerId="ADAL" clId="{FC83FA74-9C6C-494A-B4A7-F24DFB5E5CF4}" dt="2023-06-12T09:54:55.859" v="9884" actId="1076"/>
          <ac:grpSpMkLst>
            <pc:docMk/>
            <pc:sldMk cId="479280247" sldId="3741"/>
            <ac:grpSpMk id="34" creationId="{E17D31DB-9B82-499E-BC20-D0F9A2B0C090}"/>
          </ac:grpSpMkLst>
        </pc:grpChg>
        <pc:grpChg chg="mod">
          <ac:chgData name="Scott Sink" userId="007532c1-63dd-4f29-9932-df3a9735f490" providerId="ADAL" clId="{FC83FA74-9C6C-494A-B4A7-F24DFB5E5CF4}" dt="2023-06-12T09:54:42.910" v="9882" actId="1076"/>
          <ac:grpSpMkLst>
            <pc:docMk/>
            <pc:sldMk cId="479280247" sldId="3741"/>
            <ac:grpSpMk id="39" creationId="{B0A4039F-5828-4F1A-B40F-0E7CC707A23B}"/>
          </ac:grpSpMkLst>
        </pc:grpChg>
        <pc:picChg chg="mod">
          <ac:chgData name="Scott Sink" userId="007532c1-63dd-4f29-9932-df3a9735f490" providerId="ADAL" clId="{FC83FA74-9C6C-494A-B4A7-F24DFB5E5CF4}" dt="2023-06-12T09:54:38.652" v="9881" actId="1076"/>
          <ac:picMkLst>
            <pc:docMk/>
            <pc:sldMk cId="479280247" sldId="3741"/>
            <ac:picMk id="19" creationId="{C722F620-7C0D-4868-B175-317B4B45599F}"/>
          </ac:picMkLst>
        </pc:picChg>
        <pc:picChg chg="mod">
          <ac:chgData name="Scott Sink" userId="007532c1-63dd-4f29-9932-df3a9735f490" providerId="ADAL" clId="{FC83FA74-9C6C-494A-B4A7-F24DFB5E5CF4}" dt="2023-06-12T09:55:01.612" v="9885" actId="1076"/>
          <ac:picMkLst>
            <pc:docMk/>
            <pc:sldMk cId="479280247" sldId="3741"/>
            <ac:picMk id="1030" creationId="{A9683ACE-C08E-4FCF-B9FB-5AF3710313D8}"/>
          </ac:picMkLst>
        </pc:picChg>
      </pc:sldChg>
      <pc:sldChg chg="modSp new mod ord">
        <pc:chgData name="Scott Sink" userId="007532c1-63dd-4f29-9932-df3a9735f490" providerId="ADAL" clId="{FC83FA74-9C6C-494A-B4A7-F24DFB5E5CF4}" dt="2023-06-13T06:00:01.455" v="12568" actId="20577"/>
        <pc:sldMkLst>
          <pc:docMk/>
          <pc:sldMk cId="3714319097" sldId="3742"/>
        </pc:sldMkLst>
        <pc:spChg chg="mod">
          <ac:chgData name="Scott Sink" userId="007532c1-63dd-4f29-9932-df3a9735f490" providerId="ADAL" clId="{FC83FA74-9C6C-494A-B4A7-F24DFB5E5CF4}" dt="2023-06-12T10:56:30.877" v="10139" actId="1076"/>
          <ac:spMkLst>
            <pc:docMk/>
            <pc:sldMk cId="3714319097" sldId="3742"/>
            <ac:spMk id="2" creationId="{13737913-3D1E-DA8D-63B6-A020BE9DA04F}"/>
          </ac:spMkLst>
        </pc:spChg>
        <pc:spChg chg="mod">
          <ac:chgData name="Scott Sink" userId="007532c1-63dd-4f29-9932-df3a9735f490" providerId="ADAL" clId="{FC83FA74-9C6C-494A-B4A7-F24DFB5E5CF4}" dt="2023-06-13T06:00:01.455" v="12568" actId="20577"/>
          <ac:spMkLst>
            <pc:docMk/>
            <pc:sldMk cId="3714319097" sldId="3742"/>
            <ac:spMk id="3" creationId="{EC53E337-0102-53E1-22F1-24C03D261F87}"/>
          </ac:spMkLst>
        </pc:spChg>
      </pc:sldChg>
      <pc:sldChg chg="addSp delSp modSp new mod">
        <pc:chgData name="Scott Sink" userId="007532c1-63dd-4f29-9932-df3a9735f490" providerId="ADAL" clId="{FC83FA74-9C6C-494A-B4A7-F24DFB5E5CF4}" dt="2023-06-12T11:16:08.529" v="11248" actId="20577"/>
        <pc:sldMkLst>
          <pc:docMk/>
          <pc:sldMk cId="2081871205" sldId="3743"/>
        </pc:sldMkLst>
        <pc:spChg chg="mod">
          <ac:chgData name="Scott Sink" userId="007532c1-63dd-4f29-9932-df3a9735f490" providerId="ADAL" clId="{FC83FA74-9C6C-494A-B4A7-F24DFB5E5CF4}" dt="2023-06-12T11:16:08.529" v="11248" actId="20577"/>
          <ac:spMkLst>
            <pc:docMk/>
            <pc:sldMk cId="2081871205" sldId="3743"/>
            <ac:spMk id="2" creationId="{04821A8A-A9B9-6673-2083-B98129BBF227}"/>
          </ac:spMkLst>
        </pc:spChg>
        <pc:spChg chg="del">
          <ac:chgData name="Scott Sink" userId="007532c1-63dd-4f29-9932-df3a9735f490" providerId="ADAL" clId="{FC83FA74-9C6C-494A-B4A7-F24DFB5E5CF4}" dt="2023-06-12T11:14:32.257" v="11041" actId="478"/>
          <ac:spMkLst>
            <pc:docMk/>
            <pc:sldMk cId="2081871205" sldId="3743"/>
            <ac:spMk id="3" creationId="{D0782E2F-D2B9-122C-AACA-A775C67439D0}"/>
          </ac:spMkLst>
        </pc:spChg>
        <pc:spChg chg="del">
          <ac:chgData name="Scott Sink" userId="007532c1-63dd-4f29-9932-df3a9735f490" providerId="ADAL" clId="{FC83FA74-9C6C-494A-B4A7-F24DFB5E5CF4}" dt="2023-06-12T11:14:16.010" v="11017"/>
          <ac:spMkLst>
            <pc:docMk/>
            <pc:sldMk cId="2081871205" sldId="3743"/>
            <ac:spMk id="4" creationId="{63FA2236-9752-49E6-220B-71289B8BD1DC}"/>
          </ac:spMkLst>
        </pc:spChg>
        <pc:spChg chg="del">
          <ac:chgData name="Scott Sink" userId="007532c1-63dd-4f29-9932-df3a9735f490" providerId="ADAL" clId="{FC83FA74-9C6C-494A-B4A7-F24DFB5E5CF4}" dt="2023-06-12T11:14:33.543" v="11042" actId="478"/>
          <ac:spMkLst>
            <pc:docMk/>
            <pc:sldMk cId="2081871205" sldId="3743"/>
            <ac:spMk id="5" creationId="{62FFF2CB-11F7-A8FD-C267-EF170354272C}"/>
          </ac:spMkLst>
        </pc:spChg>
        <pc:spChg chg="del">
          <ac:chgData name="Scott Sink" userId="007532c1-63dd-4f29-9932-df3a9735f490" providerId="ADAL" clId="{FC83FA74-9C6C-494A-B4A7-F24DFB5E5CF4}" dt="2023-06-12T11:14:35.162" v="11043" actId="478"/>
          <ac:spMkLst>
            <pc:docMk/>
            <pc:sldMk cId="2081871205" sldId="3743"/>
            <ac:spMk id="6" creationId="{0F9B19F1-1480-36CB-603C-60A1AF2CC85E}"/>
          </ac:spMkLst>
        </pc:spChg>
        <pc:picChg chg="add mod">
          <ac:chgData name="Scott Sink" userId="007532c1-63dd-4f29-9932-df3a9735f490" providerId="ADAL" clId="{FC83FA74-9C6C-494A-B4A7-F24DFB5E5CF4}" dt="2023-06-12T11:14:48.276" v="11047" actId="14100"/>
          <ac:picMkLst>
            <pc:docMk/>
            <pc:sldMk cId="2081871205" sldId="3743"/>
            <ac:picMk id="9" creationId="{5F2ED315-9BAD-2409-0C07-68B7594121B0}"/>
          </ac:picMkLst>
        </pc:picChg>
      </pc:sldChg>
      <pc:sldChg chg="modSp new mod ord">
        <pc:chgData name="Scott Sink" userId="007532c1-63dd-4f29-9932-df3a9735f490" providerId="ADAL" clId="{FC83FA74-9C6C-494A-B4A7-F24DFB5E5CF4}" dt="2023-06-13T05:50:43.216" v="12185" actId="20577"/>
        <pc:sldMkLst>
          <pc:docMk/>
          <pc:sldMk cId="154761168" sldId="3744"/>
        </pc:sldMkLst>
        <pc:spChg chg="mod">
          <ac:chgData name="Scott Sink" userId="007532c1-63dd-4f29-9932-df3a9735f490" providerId="ADAL" clId="{FC83FA74-9C6C-494A-B4A7-F24DFB5E5CF4}" dt="2023-06-13T05:43:34.949" v="11462" actId="20577"/>
          <ac:spMkLst>
            <pc:docMk/>
            <pc:sldMk cId="154761168" sldId="3744"/>
            <ac:spMk id="2" creationId="{5B9B7EB2-A212-FCF7-119B-97BE26ED2D21}"/>
          </ac:spMkLst>
        </pc:spChg>
        <pc:spChg chg="mod">
          <ac:chgData name="Scott Sink" userId="007532c1-63dd-4f29-9932-df3a9735f490" providerId="ADAL" clId="{FC83FA74-9C6C-494A-B4A7-F24DFB5E5CF4}" dt="2023-06-13T05:50:43.216" v="12185" actId="20577"/>
          <ac:spMkLst>
            <pc:docMk/>
            <pc:sldMk cId="154761168" sldId="3744"/>
            <ac:spMk id="3" creationId="{9068D7F9-6821-85F2-E3CB-6EC90C75AD30}"/>
          </ac:spMkLst>
        </pc:spChg>
      </pc:sldChg>
      <pc:sldChg chg="addSp delSp modSp add mod">
        <pc:chgData name="Scott Sink" userId="007532c1-63dd-4f29-9932-df3a9735f490" providerId="ADAL" clId="{FC83FA74-9C6C-494A-B4A7-F24DFB5E5CF4}" dt="2023-06-13T05:53:22.759" v="12293" actId="1076"/>
        <pc:sldMkLst>
          <pc:docMk/>
          <pc:sldMk cId="1908783343" sldId="3745"/>
        </pc:sldMkLst>
        <pc:spChg chg="mod">
          <ac:chgData name="Scott Sink" userId="007532c1-63dd-4f29-9932-df3a9735f490" providerId="ADAL" clId="{FC83FA74-9C6C-494A-B4A7-F24DFB5E5CF4}" dt="2023-06-13T05:53:22.759" v="12293" actId="1076"/>
          <ac:spMkLst>
            <pc:docMk/>
            <pc:sldMk cId="1908783343" sldId="3745"/>
            <ac:spMk id="2" creationId="{F57C5E07-DB5B-55F2-6F01-6B61AC3D8F04}"/>
          </ac:spMkLst>
        </pc:spChg>
        <pc:spChg chg="del mod">
          <ac:chgData name="Scott Sink" userId="007532c1-63dd-4f29-9932-df3a9735f490" providerId="ADAL" clId="{FC83FA74-9C6C-494A-B4A7-F24DFB5E5CF4}" dt="2023-06-13T05:52:28.419" v="12204" actId="478"/>
          <ac:spMkLst>
            <pc:docMk/>
            <pc:sldMk cId="1908783343" sldId="3745"/>
            <ac:spMk id="3" creationId="{D52268DB-61E4-27E1-5D29-0E7DE9B5711D}"/>
          </ac:spMkLst>
        </pc:spChg>
        <pc:spChg chg="add del mod">
          <ac:chgData name="Scott Sink" userId="007532c1-63dd-4f29-9932-df3a9735f490" providerId="ADAL" clId="{FC83FA74-9C6C-494A-B4A7-F24DFB5E5CF4}" dt="2023-06-13T05:52:38.100" v="12206"/>
          <ac:spMkLst>
            <pc:docMk/>
            <pc:sldMk cId="1908783343" sldId="3745"/>
            <ac:spMk id="4" creationId="{28C69535-7DA1-0B92-3581-96FA3F1099CC}"/>
          </ac:spMkLst>
        </pc:spChg>
        <pc:picChg chg="add mod">
          <ac:chgData name="Scott Sink" userId="007532c1-63dd-4f29-9932-df3a9735f490" providerId="ADAL" clId="{FC83FA74-9C6C-494A-B4A7-F24DFB5E5CF4}" dt="2023-06-13T05:52:50.058" v="12210" actId="14100"/>
          <ac:picMkLst>
            <pc:docMk/>
            <pc:sldMk cId="1908783343" sldId="3745"/>
            <ac:picMk id="5" creationId="{F6DFBB88-9AA1-772E-699D-81B09FF6AAF3}"/>
          </ac:picMkLst>
        </pc:picChg>
      </pc:sldChg>
      <pc:sldChg chg="modSp add mod modClrScheme chgLayout">
        <pc:chgData name="Scott Sink" userId="007532c1-63dd-4f29-9932-df3a9735f490" providerId="ADAL" clId="{FC83FA74-9C6C-494A-B4A7-F24DFB5E5CF4}" dt="2023-06-13T06:03:05.292" v="12692" actId="1076"/>
        <pc:sldMkLst>
          <pc:docMk/>
          <pc:sldMk cId="2252823602" sldId="3746"/>
        </pc:sldMkLst>
        <pc:spChg chg="mod ord">
          <ac:chgData name="Scott Sink" userId="007532c1-63dd-4f29-9932-df3a9735f490" providerId="ADAL" clId="{FC83FA74-9C6C-494A-B4A7-F24DFB5E5CF4}" dt="2023-06-13T06:02:53.517" v="12689" actId="700"/>
          <ac:spMkLst>
            <pc:docMk/>
            <pc:sldMk cId="2252823602" sldId="3746"/>
            <ac:spMk id="2" creationId="{0256664E-48AC-4EC7-B938-D31E570F7EB5}"/>
          </ac:spMkLst>
        </pc:spChg>
        <pc:picChg chg="mod">
          <ac:chgData name="Scott Sink" userId="007532c1-63dd-4f29-9932-df3a9735f490" providerId="ADAL" clId="{FC83FA74-9C6C-494A-B4A7-F24DFB5E5CF4}" dt="2023-06-13T06:03:05.292" v="12692" actId="1076"/>
          <ac:picMkLst>
            <pc:docMk/>
            <pc:sldMk cId="2252823602" sldId="3746"/>
            <ac:picMk id="4" creationId="{168E3AB8-F01B-4BAA-8BD0-09B0F5F65C69}"/>
          </ac:picMkLst>
        </pc:picChg>
        <pc:picChg chg="mod ord">
          <ac:chgData name="Scott Sink" userId="007532c1-63dd-4f29-9932-df3a9735f490" providerId="ADAL" clId="{FC83FA74-9C6C-494A-B4A7-F24DFB5E5CF4}" dt="2023-06-13T06:03:00.916" v="12690" actId="1076"/>
          <ac:picMkLst>
            <pc:docMk/>
            <pc:sldMk cId="2252823602" sldId="3746"/>
            <ac:picMk id="5" creationId="{82681B15-219F-4CBD-80B7-01EC6202C201}"/>
          </ac:picMkLst>
        </pc:picChg>
        <pc:picChg chg="mod">
          <ac:chgData name="Scott Sink" userId="007532c1-63dd-4f29-9932-df3a9735f490" providerId="ADAL" clId="{FC83FA74-9C6C-494A-B4A7-F24DFB5E5CF4}" dt="2023-06-13T06:03:02.713" v="12691" actId="1076"/>
          <ac:picMkLst>
            <pc:docMk/>
            <pc:sldMk cId="2252823602" sldId="3746"/>
            <ac:picMk id="1026" creationId="{D8706658-0295-46C1-973F-E6F2BC5FE202}"/>
          </ac:picMkLst>
        </pc:picChg>
      </pc:sldChg>
      <pc:sldChg chg="addSp delSp modSp new del mod">
        <pc:chgData name="Scott Sink" userId="007532c1-63dd-4f29-9932-df3a9735f490" providerId="ADAL" clId="{FC83FA74-9C6C-494A-B4A7-F24DFB5E5CF4}" dt="2023-06-13T06:16:20.486" v="12880" actId="47"/>
        <pc:sldMkLst>
          <pc:docMk/>
          <pc:sldMk cId="983868815" sldId="3747"/>
        </pc:sldMkLst>
        <pc:spChg chg="del">
          <ac:chgData name="Scott Sink" userId="007532c1-63dd-4f29-9932-df3a9735f490" providerId="ADAL" clId="{FC83FA74-9C6C-494A-B4A7-F24DFB5E5CF4}" dt="2023-06-13T06:06:01.651" v="12698"/>
          <ac:spMkLst>
            <pc:docMk/>
            <pc:sldMk cId="983868815" sldId="3747"/>
            <ac:spMk id="3" creationId="{94E9BE5A-B975-76CC-1D91-C75D9A5BB89D}"/>
          </ac:spMkLst>
        </pc:spChg>
        <pc:picChg chg="add mod">
          <ac:chgData name="Scott Sink" userId="007532c1-63dd-4f29-9932-df3a9735f490" providerId="ADAL" clId="{FC83FA74-9C6C-494A-B4A7-F24DFB5E5CF4}" dt="2023-06-13T06:06:02.549" v="12700" actId="962"/>
          <ac:picMkLst>
            <pc:docMk/>
            <pc:sldMk cId="983868815" sldId="3747"/>
            <ac:picMk id="5" creationId="{539F40CF-DFFC-B402-E207-6E1CFB170C15}"/>
          </ac:picMkLst>
        </pc:picChg>
      </pc:sldChg>
      <pc:sldChg chg="addSp delSp modSp new mod ord">
        <pc:chgData name="Scott Sink" userId="007532c1-63dd-4f29-9932-df3a9735f490" providerId="ADAL" clId="{FC83FA74-9C6C-494A-B4A7-F24DFB5E5CF4}" dt="2023-06-13T06:21:11.216" v="12924"/>
        <pc:sldMkLst>
          <pc:docMk/>
          <pc:sldMk cId="3178020124" sldId="3748"/>
        </pc:sldMkLst>
        <pc:spChg chg="del">
          <ac:chgData name="Scott Sink" userId="007532c1-63dd-4f29-9932-df3a9735f490" providerId="ADAL" clId="{FC83FA74-9C6C-494A-B4A7-F24DFB5E5CF4}" dt="2023-06-13T06:13:51.769" v="12746" actId="478"/>
          <ac:spMkLst>
            <pc:docMk/>
            <pc:sldMk cId="3178020124" sldId="3748"/>
            <ac:spMk id="2" creationId="{6D5FD929-5356-2469-AB7F-9D1CFDC65EFE}"/>
          </ac:spMkLst>
        </pc:spChg>
        <pc:spChg chg="del">
          <ac:chgData name="Scott Sink" userId="007532c1-63dd-4f29-9932-df3a9735f490" providerId="ADAL" clId="{FC83FA74-9C6C-494A-B4A7-F24DFB5E5CF4}" dt="2023-06-13T06:06:54.066" v="12702"/>
          <ac:spMkLst>
            <pc:docMk/>
            <pc:sldMk cId="3178020124" sldId="3748"/>
            <ac:spMk id="3" creationId="{9A140556-A4E2-FDC5-BC8A-0D3F7436F53C}"/>
          </ac:spMkLst>
        </pc:spChg>
        <pc:picChg chg="add mod">
          <ac:chgData name="Scott Sink" userId="007532c1-63dd-4f29-9932-df3a9735f490" providerId="ADAL" clId="{FC83FA74-9C6C-494A-B4A7-F24DFB5E5CF4}" dt="2023-06-13T06:14:15.803" v="12750" actId="14100"/>
          <ac:picMkLst>
            <pc:docMk/>
            <pc:sldMk cId="3178020124" sldId="3748"/>
            <ac:picMk id="5" creationId="{2CC7A5B9-1D4E-FB38-5CA9-3565BDD9AB35}"/>
          </ac:picMkLst>
        </pc:picChg>
      </pc:sldChg>
      <pc:sldChg chg="addSp delSp modSp new mod ord">
        <pc:chgData name="Scott Sink" userId="007532c1-63dd-4f29-9932-df3a9735f490" providerId="ADAL" clId="{FC83FA74-9C6C-494A-B4A7-F24DFB5E5CF4}" dt="2023-06-13T06:16:10.370" v="12879" actId="20577"/>
        <pc:sldMkLst>
          <pc:docMk/>
          <pc:sldMk cId="4172800225" sldId="3749"/>
        </pc:sldMkLst>
        <pc:spChg chg="mod">
          <ac:chgData name="Scott Sink" userId="007532c1-63dd-4f29-9932-df3a9735f490" providerId="ADAL" clId="{FC83FA74-9C6C-494A-B4A7-F24DFB5E5CF4}" dt="2023-06-13T06:16:10.370" v="12879" actId="20577"/>
          <ac:spMkLst>
            <pc:docMk/>
            <pc:sldMk cId="4172800225" sldId="3749"/>
            <ac:spMk id="2" creationId="{2B37521D-9573-DEE0-5B51-AACECBD02228}"/>
          </ac:spMkLst>
        </pc:spChg>
        <pc:spChg chg="del">
          <ac:chgData name="Scott Sink" userId="007532c1-63dd-4f29-9932-df3a9735f490" providerId="ADAL" clId="{FC83FA74-9C6C-494A-B4A7-F24DFB5E5CF4}" dt="2023-06-13T06:09:25" v="12706"/>
          <ac:spMkLst>
            <pc:docMk/>
            <pc:sldMk cId="4172800225" sldId="3749"/>
            <ac:spMk id="3" creationId="{6E0324ED-74B1-7BE3-88A2-2DC0CEB806E2}"/>
          </ac:spMkLst>
        </pc:spChg>
        <pc:spChg chg="add mod">
          <ac:chgData name="Scott Sink" userId="007532c1-63dd-4f29-9932-df3a9735f490" providerId="ADAL" clId="{FC83FA74-9C6C-494A-B4A7-F24DFB5E5CF4}" dt="2023-06-13T06:15:14.607" v="12787" actId="207"/>
          <ac:spMkLst>
            <pc:docMk/>
            <pc:sldMk cId="4172800225" sldId="3749"/>
            <ac:spMk id="6" creationId="{43AE6C09-C8AF-F3E2-3329-695B17CAEC50}"/>
          </ac:spMkLst>
        </pc:spChg>
        <pc:picChg chg="add mod">
          <ac:chgData name="Scott Sink" userId="007532c1-63dd-4f29-9932-df3a9735f490" providerId="ADAL" clId="{FC83FA74-9C6C-494A-B4A7-F24DFB5E5CF4}" dt="2023-06-13T06:09:40.216" v="12714" actId="14100"/>
          <ac:picMkLst>
            <pc:docMk/>
            <pc:sldMk cId="4172800225" sldId="3749"/>
            <ac:picMk id="5" creationId="{D23F8108-63F8-58AA-9C99-13ADFBFA0489}"/>
          </ac:picMkLst>
        </pc:picChg>
      </pc:sldChg>
      <pc:sldChg chg="addSp modSp add mod ord">
        <pc:chgData name="Scott Sink" userId="007532c1-63dd-4f29-9932-df3a9735f490" providerId="ADAL" clId="{FC83FA74-9C6C-494A-B4A7-F24DFB5E5CF4}" dt="2023-06-13T06:17:51.358" v="12902" actId="14100"/>
        <pc:sldMkLst>
          <pc:docMk/>
          <pc:sldMk cId="1380569140" sldId="3750"/>
        </pc:sldMkLst>
        <pc:spChg chg="mod">
          <ac:chgData name="Scott Sink" userId="007532c1-63dd-4f29-9932-df3a9735f490" providerId="ADAL" clId="{FC83FA74-9C6C-494A-B4A7-F24DFB5E5CF4}" dt="2023-06-13T06:11:33.219" v="12718" actId="1076"/>
          <ac:spMkLst>
            <pc:docMk/>
            <pc:sldMk cId="1380569140" sldId="3750"/>
            <ac:spMk id="2" creationId="{C3B6F9E1-5D4E-4727-1554-0B5EFDFA542F}"/>
          </ac:spMkLst>
        </pc:spChg>
        <pc:picChg chg="add mod">
          <ac:chgData name="Scott Sink" userId="007532c1-63dd-4f29-9932-df3a9735f490" providerId="ADAL" clId="{FC83FA74-9C6C-494A-B4A7-F24DFB5E5CF4}" dt="2023-06-13T06:17:28.146" v="12899" actId="1076"/>
          <ac:picMkLst>
            <pc:docMk/>
            <pc:sldMk cId="1380569140" sldId="3750"/>
            <ac:picMk id="6" creationId="{C2EA1236-F158-E54A-4627-D3BCCF794401}"/>
          </ac:picMkLst>
        </pc:picChg>
        <pc:picChg chg="mod">
          <ac:chgData name="Scott Sink" userId="007532c1-63dd-4f29-9932-df3a9735f490" providerId="ADAL" clId="{FC83FA74-9C6C-494A-B4A7-F24DFB5E5CF4}" dt="2023-06-13T06:17:24.870" v="12897" actId="1076"/>
          <ac:picMkLst>
            <pc:docMk/>
            <pc:sldMk cId="1380569140" sldId="3750"/>
            <ac:picMk id="10242" creationId="{E8BE3962-895C-9685-382F-993C84F04474}"/>
          </ac:picMkLst>
        </pc:picChg>
        <pc:picChg chg="mod">
          <ac:chgData name="Scott Sink" userId="007532c1-63dd-4f29-9932-df3a9735f490" providerId="ADAL" clId="{FC83FA74-9C6C-494A-B4A7-F24DFB5E5CF4}" dt="2023-06-13T06:17:26.650" v="12898" actId="1076"/>
          <ac:picMkLst>
            <pc:docMk/>
            <pc:sldMk cId="1380569140" sldId="3750"/>
            <ac:picMk id="10244" creationId="{CFF94AAC-919A-AF6D-6366-214E437A530C}"/>
          </ac:picMkLst>
        </pc:picChg>
        <pc:picChg chg="mod">
          <ac:chgData name="Scott Sink" userId="007532c1-63dd-4f29-9932-df3a9735f490" providerId="ADAL" clId="{FC83FA74-9C6C-494A-B4A7-F24DFB5E5CF4}" dt="2023-06-13T06:17:31.939" v="12900" actId="1076"/>
          <ac:picMkLst>
            <pc:docMk/>
            <pc:sldMk cId="1380569140" sldId="3750"/>
            <ac:picMk id="10248" creationId="{506E9424-7CD9-A66A-E486-7016CF497EA4}"/>
          </ac:picMkLst>
        </pc:picChg>
        <pc:picChg chg="mod">
          <ac:chgData name="Scott Sink" userId="007532c1-63dd-4f29-9932-df3a9735f490" providerId="ADAL" clId="{FC83FA74-9C6C-494A-B4A7-F24DFB5E5CF4}" dt="2023-06-13T06:17:38.533" v="12901" actId="14100"/>
          <ac:picMkLst>
            <pc:docMk/>
            <pc:sldMk cId="1380569140" sldId="3750"/>
            <ac:picMk id="10254" creationId="{0DD33540-674D-2566-75D1-B512606F3799}"/>
          </ac:picMkLst>
        </pc:picChg>
        <pc:cxnChg chg="mod">
          <ac:chgData name="Scott Sink" userId="007532c1-63dd-4f29-9932-df3a9735f490" providerId="ADAL" clId="{FC83FA74-9C6C-494A-B4A7-F24DFB5E5CF4}" dt="2023-06-13T06:17:51.358" v="12902" actId="14100"/>
          <ac:cxnSpMkLst>
            <pc:docMk/>
            <pc:sldMk cId="1380569140" sldId="3750"/>
            <ac:cxnSpMk id="8" creationId="{52DDE793-63E3-03B6-C893-838A4057D725}"/>
          </ac:cxnSpMkLst>
        </pc:cxnChg>
      </pc:sldChg>
      <pc:sldChg chg="modSp add mod ord">
        <pc:chgData name="Scott Sink" userId="007532c1-63dd-4f29-9932-df3a9735f490" providerId="ADAL" clId="{FC83FA74-9C6C-494A-B4A7-F24DFB5E5CF4}" dt="2023-06-13T06:16:28.487" v="12884"/>
        <pc:sldMkLst>
          <pc:docMk/>
          <pc:sldMk cId="997594699" sldId="3751"/>
        </pc:sldMkLst>
        <pc:spChg chg="mod">
          <ac:chgData name="Scott Sink" userId="007532c1-63dd-4f29-9932-df3a9735f490" providerId="ADAL" clId="{FC83FA74-9C6C-494A-B4A7-F24DFB5E5CF4}" dt="2023-06-13T06:13:17.618" v="12741" actId="403"/>
          <ac:spMkLst>
            <pc:docMk/>
            <pc:sldMk cId="997594699" sldId="3751"/>
            <ac:spMk id="3" creationId="{FDD72910-0577-1B27-89DE-FF19F6E6EFF0}"/>
          </ac:spMkLst>
        </pc:spChg>
        <pc:picChg chg="mod">
          <ac:chgData name="Scott Sink" userId="007532c1-63dd-4f29-9932-df3a9735f490" providerId="ADAL" clId="{FC83FA74-9C6C-494A-B4A7-F24DFB5E5CF4}" dt="2023-06-13T06:13:24.501" v="12744" actId="14100"/>
          <ac:picMkLst>
            <pc:docMk/>
            <pc:sldMk cId="997594699" sldId="3751"/>
            <ac:picMk id="2" creationId="{26BD4517-554A-8A17-FFA4-F57FCBB5E1FF}"/>
          </ac:picMkLst>
        </pc:picChg>
      </pc:sldChg>
      <pc:sldChg chg="add del">
        <pc:chgData name="Scott Sink" userId="007532c1-63dd-4f29-9932-df3a9735f490" providerId="ADAL" clId="{FC83FA74-9C6C-494A-B4A7-F24DFB5E5CF4}" dt="2023-06-13T06:11:47.701" v="12721" actId="27028"/>
        <pc:sldMkLst>
          <pc:docMk/>
          <pc:sldMk cId="2654162770" sldId="3751"/>
        </pc:sldMkLst>
      </pc:sldChg>
      <pc:sldChg chg="modSp add mod ord">
        <pc:chgData name="Scott Sink" userId="007532c1-63dd-4f29-9932-df3a9735f490" providerId="ADAL" clId="{FC83FA74-9C6C-494A-B4A7-F24DFB5E5CF4}" dt="2023-06-13T06:16:31.226" v="12886"/>
        <pc:sldMkLst>
          <pc:docMk/>
          <pc:sldMk cId="2881422688" sldId="3752"/>
        </pc:sldMkLst>
        <pc:spChg chg="mod">
          <ac:chgData name="Scott Sink" userId="007532c1-63dd-4f29-9932-df3a9735f490" providerId="ADAL" clId="{FC83FA74-9C6C-494A-B4A7-F24DFB5E5CF4}" dt="2023-06-13T06:12:35.085" v="12729" actId="1076"/>
          <ac:spMkLst>
            <pc:docMk/>
            <pc:sldMk cId="2881422688" sldId="3752"/>
            <ac:spMk id="6" creationId="{D47AC3A1-907C-1C5D-1AD5-57C8DD50CC1D}"/>
          </ac:spMkLst>
        </pc:spChg>
        <pc:picChg chg="mod">
          <ac:chgData name="Scott Sink" userId="007532c1-63dd-4f29-9932-df3a9735f490" providerId="ADAL" clId="{FC83FA74-9C6C-494A-B4A7-F24DFB5E5CF4}" dt="2023-06-13T06:12:52.951" v="12735" actId="1076"/>
          <ac:picMkLst>
            <pc:docMk/>
            <pc:sldMk cId="2881422688" sldId="3752"/>
            <ac:picMk id="2" creationId="{EE425180-91E9-D179-969F-27F53A1F8003}"/>
          </ac:picMkLst>
        </pc:picChg>
        <pc:picChg chg="mod">
          <ac:chgData name="Scott Sink" userId="007532c1-63dd-4f29-9932-df3a9735f490" providerId="ADAL" clId="{FC83FA74-9C6C-494A-B4A7-F24DFB5E5CF4}" dt="2023-06-13T06:12:45.501" v="12732" actId="1076"/>
          <ac:picMkLst>
            <pc:docMk/>
            <pc:sldMk cId="2881422688" sldId="3752"/>
            <ac:picMk id="4" creationId="{A0A6081A-1DA1-5714-2EBF-C51EC3621F42}"/>
          </ac:picMkLst>
        </pc:picChg>
      </pc:sldChg>
      <pc:sldChg chg="add del">
        <pc:chgData name="Scott Sink" userId="007532c1-63dd-4f29-9932-df3a9735f490" providerId="ADAL" clId="{FC83FA74-9C6C-494A-B4A7-F24DFB5E5CF4}" dt="2023-06-13T06:12:14.552" v="12726" actId="27028"/>
        <pc:sldMkLst>
          <pc:docMk/>
          <pc:sldMk cId="3592724285" sldId="3752"/>
        </pc:sldMkLst>
      </pc:sldChg>
      <pc:sldChg chg="modSp add mod ord">
        <pc:chgData name="Scott Sink" userId="007532c1-63dd-4f29-9932-df3a9735f490" providerId="ADAL" clId="{FC83FA74-9C6C-494A-B4A7-F24DFB5E5CF4}" dt="2023-06-13T06:41:38.216" v="14057"/>
        <pc:sldMkLst>
          <pc:docMk/>
          <pc:sldMk cId="1982806834" sldId="3753"/>
        </pc:sldMkLst>
        <pc:spChg chg="mod">
          <ac:chgData name="Scott Sink" userId="007532c1-63dd-4f29-9932-df3a9735f490" providerId="ADAL" clId="{FC83FA74-9C6C-494A-B4A7-F24DFB5E5CF4}" dt="2023-06-13T06:28:37.466" v="13606" actId="20577"/>
          <ac:spMkLst>
            <pc:docMk/>
            <pc:sldMk cId="1982806834" sldId="3753"/>
            <ac:spMk id="2" creationId="{F57C5E07-DB5B-55F2-6F01-6B61AC3D8F04}"/>
          </ac:spMkLst>
        </pc:spChg>
      </pc:sldChg>
      <pc:sldChg chg="new del">
        <pc:chgData name="Scott Sink" userId="007532c1-63dd-4f29-9932-df3a9735f490" providerId="ADAL" clId="{FC83FA74-9C6C-494A-B4A7-F24DFB5E5CF4}" dt="2023-06-13T06:37:44.212" v="13611" actId="47"/>
        <pc:sldMkLst>
          <pc:docMk/>
          <pc:sldMk cId="2199993592" sldId="3754"/>
        </pc:sldMkLst>
      </pc:sldChg>
      <pc:sldChg chg="modSp new mod ord">
        <pc:chgData name="Scott Sink" userId="007532c1-63dd-4f29-9932-df3a9735f490" providerId="ADAL" clId="{FC83FA74-9C6C-494A-B4A7-F24DFB5E5CF4}" dt="2023-06-13T06:41:31.868" v="14055" actId="20577"/>
        <pc:sldMkLst>
          <pc:docMk/>
          <pc:sldMk cId="1369080686" sldId="3755"/>
        </pc:sldMkLst>
        <pc:spChg chg="mod">
          <ac:chgData name="Scott Sink" userId="007532c1-63dd-4f29-9932-df3a9735f490" providerId="ADAL" clId="{FC83FA74-9C6C-494A-B4A7-F24DFB5E5CF4}" dt="2023-06-13T06:38:04.582" v="13643" actId="20577"/>
          <ac:spMkLst>
            <pc:docMk/>
            <pc:sldMk cId="1369080686" sldId="3755"/>
            <ac:spMk id="2" creationId="{D61ED403-D791-78B6-17FA-9A3150B2A848}"/>
          </ac:spMkLst>
        </pc:spChg>
        <pc:spChg chg="mod">
          <ac:chgData name="Scott Sink" userId="007532c1-63dd-4f29-9932-df3a9735f490" providerId="ADAL" clId="{FC83FA74-9C6C-494A-B4A7-F24DFB5E5CF4}" dt="2023-06-13T06:41:31.868" v="14055" actId="20577"/>
          <ac:spMkLst>
            <pc:docMk/>
            <pc:sldMk cId="1369080686" sldId="3755"/>
            <ac:spMk id="3" creationId="{D857E3BC-9AFD-ED4A-C330-5782068A843B}"/>
          </ac:spMkLst>
        </pc:spChg>
      </pc:sldChg>
      <pc:sldMasterChg chg="addSldLayout">
        <pc:chgData name="Scott Sink" userId="007532c1-63dd-4f29-9932-df3a9735f490" providerId="ADAL" clId="{FC83FA74-9C6C-494A-B4A7-F24DFB5E5CF4}" dt="2023-06-10T08:02:44.028" v="1082" actId="27028"/>
        <pc:sldMasterMkLst>
          <pc:docMk/>
          <pc:sldMasterMk cId="109284353" sldId="2147483648"/>
        </pc:sldMasterMkLst>
        <pc:sldLayoutChg chg="add">
          <pc:chgData name="Scott Sink" userId="007532c1-63dd-4f29-9932-df3a9735f490" providerId="ADAL" clId="{FC83FA74-9C6C-494A-B4A7-F24DFB5E5CF4}" dt="2023-06-10T08:02:54.097" v="1084" actId="27028"/>
          <pc:sldLayoutMkLst>
            <pc:docMk/>
            <pc:sldMasterMk cId="109284353" sldId="2147483648"/>
            <pc:sldLayoutMk cId="4104728505" sldId="2147483650"/>
          </pc:sldLayoutMkLst>
        </pc:sldLayoutChg>
        <pc:sldLayoutChg chg="add">
          <pc:chgData name="Scott Sink" userId="007532c1-63dd-4f29-9932-df3a9735f490" providerId="ADAL" clId="{FC83FA74-9C6C-494A-B4A7-F24DFB5E5CF4}" dt="2023-06-10T08:02:44.028" v="1082" actId="27028"/>
          <pc:sldLayoutMkLst>
            <pc:docMk/>
            <pc:sldMasterMk cId="109284353" sldId="2147483648"/>
            <pc:sldLayoutMk cId="2017573220" sldId="2147483655"/>
          </pc:sldLayoutMkLst>
        </pc:sldLayoutChg>
      </pc:sldMasterChg>
      <pc:sldMasterChg chg="add addSldLayout">
        <pc:chgData name="Scott Sink" userId="007532c1-63dd-4f29-9932-df3a9735f490" providerId="ADAL" clId="{FC83FA74-9C6C-494A-B4A7-F24DFB5E5CF4}" dt="2023-06-10T08:02:38.268" v="1080" actId="27028"/>
        <pc:sldMasterMkLst>
          <pc:docMk/>
          <pc:sldMasterMk cId="0" sldId="2147483658"/>
        </pc:sldMasterMkLst>
        <pc:sldLayoutChg chg="add">
          <pc:chgData name="Scott Sink" userId="007532c1-63dd-4f29-9932-df3a9735f490" providerId="ADAL" clId="{FC83FA74-9C6C-494A-B4A7-F24DFB5E5CF4}" dt="2023-06-10T08:02:38.268" v="1080" actId="27028"/>
          <pc:sldLayoutMkLst>
            <pc:docMk/>
            <pc:sldMasterMk cId="0" sldId="2147483658"/>
            <pc:sldLayoutMk cId="1335986753" sldId="2147483660"/>
          </pc:sldLayoutMkLst>
        </pc:sldLayoutChg>
      </pc:sldMasterChg>
      <pc:sldMasterChg chg="add addSldLayout delSldLayout">
        <pc:chgData name="Scott Sink" userId="007532c1-63dd-4f29-9932-df3a9735f490" providerId="ADAL" clId="{FC83FA74-9C6C-494A-B4A7-F24DFB5E5CF4}" dt="2023-06-13T06:11:59.307" v="12722" actId="27028"/>
        <pc:sldMasterMkLst>
          <pc:docMk/>
          <pc:sldMasterMk cId="0" sldId="2147483666"/>
        </pc:sldMasterMkLst>
        <pc:sldLayoutChg chg="add del">
          <pc:chgData name="Scott Sink" userId="007532c1-63dd-4f29-9932-df3a9735f490" providerId="ADAL" clId="{FC83FA74-9C6C-494A-B4A7-F24DFB5E5CF4}" dt="2023-06-13T06:11:59.307" v="12722" actId="27028"/>
          <pc:sldLayoutMkLst>
            <pc:docMk/>
            <pc:sldMasterMk cId="0" sldId="2147483666"/>
            <pc:sldLayoutMk cId="1393805021" sldId="2147483669"/>
          </pc:sldLayoutMkLst>
        </pc:sldLayoutChg>
        <pc:sldLayoutChg chg="add">
          <pc:chgData name="Scott Sink" userId="007532c1-63dd-4f29-9932-df3a9735f490" providerId="ADAL" clId="{FC83FA74-9C6C-494A-B4A7-F24DFB5E5CF4}" dt="2023-06-13T06:11:27.768" v="12715" actId="27028"/>
          <pc:sldLayoutMkLst>
            <pc:docMk/>
            <pc:sldMasterMk cId="0" sldId="2147483666"/>
            <pc:sldLayoutMk cId="0" sldId="2147497900"/>
          </pc:sldLayoutMkLst>
        </pc:sldLayoutChg>
      </pc:sldMasterChg>
      <pc:sldMasterChg chg="del delSldLayout">
        <pc:chgData name="Scott Sink" userId="007532c1-63dd-4f29-9932-df3a9735f490" providerId="ADAL" clId="{FC83FA74-9C6C-494A-B4A7-F24DFB5E5CF4}" dt="2023-06-04T06:45:30.751" v="33" actId="47"/>
        <pc:sldMasterMkLst>
          <pc:docMk/>
          <pc:sldMasterMk cId="1129140775" sldId="2147483674"/>
        </pc:sldMasterMkLst>
        <pc:sldLayoutChg chg="del">
          <pc:chgData name="Scott Sink" userId="007532c1-63dd-4f29-9932-df3a9735f490" providerId="ADAL" clId="{FC83FA74-9C6C-494A-B4A7-F24DFB5E5CF4}" dt="2023-06-04T06:45:30.751" v="33" actId="47"/>
          <pc:sldLayoutMkLst>
            <pc:docMk/>
            <pc:sldMasterMk cId="1129140775" sldId="2147483674"/>
            <pc:sldLayoutMk cId="3823185750" sldId="2147483676"/>
          </pc:sldLayoutMkLst>
        </pc:sldLayoutChg>
        <pc:sldLayoutChg chg="del">
          <pc:chgData name="Scott Sink" userId="007532c1-63dd-4f29-9932-df3a9735f490" providerId="ADAL" clId="{FC83FA74-9C6C-494A-B4A7-F24DFB5E5CF4}" dt="2023-06-04T06:45:30.751" v="33" actId="47"/>
          <pc:sldLayoutMkLst>
            <pc:docMk/>
            <pc:sldMasterMk cId="1129140775" sldId="2147483674"/>
            <pc:sldLayoutMk cId="761583877" sldId="2147483678"/>
          </pc:sldLayoutMkLst>
        </pc:sldLayoutChg>
        <pc:sldLayoutChg chg="del">
          <pc:chgData name="Scott Sink" userId="007532c1-63dd-4f29-9932-df3a9735f490" providerId="ADAL" clId="{FC83FA74-9C6C-494A-B4A7-F24DFB5E5CF4}" dt="2023-06-04T06:45:30.751" v="33" actId="47"/>
          <pc:sldLayoutMkLst>
            <pc:docMk/>
            <pc:sldMasterMk cId="1129140775" sldId="2147483674"/>
            <pc:sldLayoutMk cId="1049413771" sldId="2147483680"/>
          </pc:sldLayoutMkLst>
        </pc:sldLayoutChg>
        <pc:sldLayoutChg chg="del">
          <pc:chgData name="Scott Sink" userId="007532c1-63dd-4f29-9932-df3a9735f490" providerId="ADAL" clId="{FC83FA74-9C6C-494A-B4A7-F24DFB5E5CF4}" dt="2023-06-04T06:45:30.751" v="33" actId="47"/>
          <pc:sldLayoutMkLst>
            <pc:docMk/>
            <pc:sldMasterMk cId="1129140775" sldId="2147483674"/>
            <pc:sldLayoutMk cId="3939964797" sldId="2147483681"/>
          </pc:sldLayoutMkLst>
        </pc:sldLayoutChg>
        <pc:sldLayoutChg chg="del">
          <pc:chgData name="Scott Sink" userId="007532c1-63dd-4f29-9932-df3a9735f490" providerId="ADAL" clId="{FC83FA74-9C6C-494A-B4A7-F24DFB5E5CF4}" dt="2023-06-04T06:45:16.341" v="7" actId="47"/>
          <pc:sldLayoutMkLst>
            <pc:docMk/>
            <pc:sldMasterMk cId="1129140775" sldId="2147483674"/>
            <pc:sldLayoutMk cId="2578213539" sldId="2147483687"/>
          </pc:sldLayoutMkLst>
        </pc:sldLayoutChg>
      </pc:sldMasterChg>
      <pc:sldMasterChg chg="add addSldLayout">
        <pc:chgData name="Scott Sink" userId="007532c1-63dd-4f29-9932-df3a9735f490" providerId="ADAL" clId="{FC83FA74-9C6C-494A-B4A7-F24DFB5E5CF4}" dt="2023-06-10T08:02:11.344" v="1074" actId="27028"/>
        <pc:sldMasterMkLst>
          <pc:docMk/>
          <pc:sldMasterMk cId="2634445035" sldId="2147483712"/>
        </pc:sldMasterMkLst>
        <pc:sldLayoutChg chg="add">
          <pc:chgData name="Scott Sink" userId="007532c1-63dd-4f29-9932-df3a9735f490" providerId="ADAL" clId="{FC83FA74-9C6C-494A-B4A7-F24DFB5E5CF4}" dt="2023-06-10T08:02:11.344" v="1074" actId="27028"/>
          <pc:sldLayoutMkLst>
            <pc:docMk/>
            <pc:sldMasterMk cId="2634445035" sldId="2147483712"/>
            <pc:sldLayoutMk cId="2434317192" sldId="2147483715"/>
          </pc:sldLayoutMkLst>
        </pc:sldLayoutChg>
      </pc:sldMasterChg>
      <pc:sldMasterChg chg="add del addSldLayout delSldLayout">
        <pc:chgData name="Scott Sink" userId="007532c1-63dd-4f29-9932-df3a9735f490" providerId="ADAL" clId="{FC83FA74-9C6C-494A-B4A7-F24DFB5E5CF4}" dt="2023-06-10T08:03:07.303" v="1088" actId="27028"/>
        <pc:sldMasterMkLst>
          <pc:docMk/>
          <pc:sldMasterMk cId="2400706797" sldId="2147483740"/>
        </pc:sldMasterMkLst>
        <pc:sldLayoutChg chg="add del">
          <pc:chgData name="Scott Sink" userId="007532c1-63dd-4f29-9932-df3a9735f490" providerId="ADAL" clId="{FC83FA74-9C6C-494A-B4A7-F24DFB5E5CF4}" dt="2023-06-10T08:03:07.303" v="1088" actId="27028"/>
          <pc:sldLayoutMkLst>
            <pc:docMk/>
            <pc:sldMasterMk cId="2400706797" sldId="2147483740"/>
            <pc:sldLayoutMk cId="529473691" sldId="2147483741"/>
          </pc:sldLayoutMkLst>
        </pc:sldLayoutChg>
      </pc:sldMasterChg>
      <pc:sldMasterChg chg="add addSldLayout">
        <pc:chgData name="Scott Sink" userId="007532c1-63dd-4f29-9932-df3a9735f490" providerId="ADAL" clId="{FC83FA74-9C6C-494A-B4A7-F24DFB5E5CF4}" dt="2023-06-10T07:59:49.030" v="1044" actId="27028"/>
        <pc:sldMasterMkLst>
          <pc:docMk/>
          <pc:sldMasterMk cId="0" sldId="2147483873"/>
        </pc:sldMasterMkLst>
        <pc:sldLayoutChg chg="add">
          <pc:chgData name="Scott Sink" userId="007532c1-63dd-4f29-9932-df3a9735f490" providerId="ADAL" clId="{FC83FA74-9C6C-494A-B4A7-F24DFB5E5CF4}" dt="2023-06-10T07:59:49.030" v="1044" actId="27028"/>
          <pc:sldLayoutMkLst>
            <pc:docMk/>
            <pc:sldMasterMk cId="0" sldId="2147483873"/>
            <pc:sldLayoutMk cId="3723801766" sldId="2147484076"/>
          </pc:sldLayoutMkLst>
        </pc:sldLayoutChg>
      </pc:sldMasterChg>
      <pc:sldMasterChg chg="add del addSldLayout delSldLayout">
        <pc:chgData name="Scott Sink" userId="007532c1-63dd-4f29-9932-df3a9735f490" providerId="ADAL" clId="{FC83FA74-9C6C-494A-B4A7-F24DFB5E5CF4}" dt="2023-06-10T12:17:45.087" v="1942" actId="700"/>
        <pc:sldMasterMkLst>
          <pc:docMk/>
          <pc:sldMasterMk cId="0" sldId="2147483967"/>
        </pc:sldMasterMkLst>
        <pc:sldLayoutChg chg="add del">
          <pc:chgData name="Scott Sink" userId="007532c1-63dd-4f29-9932-df3a9735f490" providerId="ADAL" clId="{FC83FA74-9C6C-494A-B4A7-F24DFB5E5CF4}" dt="2023-06-10T12:17:45.087" v="1942" actId="700"/>
          <pc:sldLayoutMkLst>
            <pc:docMk/>
            <pc:sldMasterMk cId="0" sldId="2147483967"/>
            <pc:sldLayoutMk cId="4205824576" sldId="2147483968"/>
          </pc:sldLayoutMkLst>
        </pc:sldLayoutChg>
      </pc:sldMasterChg>
      <pc:sldMasterChg chg="add addSldLayout">
        <pc:chgData name="Scott Sink" userId="007532c1-63dd-4f29-9932-df3a9735f490" providerId="ADAL" clId="{FC83FA74-9C6C-494A-B4A7-F24DFB5E5CF4}" dt="2023-06-10T07:58:43.031" v="1034" actId="27028"/>
        <pc:sldMasterMkLst>
          <pc:docMk/>
          <pc:sldMasterMk cId="0" sldId="2147483978"/>
        </pc:sldMasterMkLst>
        <pc:sldLayoutChg chg="add">
          <pc:chgData name="Scott Sink" userId="007532c1-63dd-4f29-9932-df3a9735f490" providerId="ADAL" clId="{FC83FA74-9C6C-494A-B4A7-F24DFB5E5CF4}" dt="2023-06-10T07:58:43.031" v="1034" actId="27028"/>
          <pc:sldLayoutMkLst>
            <pc:docMk/>
            <pc:sldMasterMk cId="0" sldId="2147483978"/>
            <pc:sldLayoutMk cId="0" sldId="2147483662"/>
          </pc:sldLayoutMkLst>
        </pc:sldLayoutChg>
      </pc:sldMasterChg>
      <pc:sldMasterChg chg="add addSldLayout">
        <pc:chgData name="Scott Sink" userId="007532c1-63dd-4f29-9932-df3a9735f490" providerId="ADAL" clId="{FC83FA74-9C6C-494A-B4A7-F24DFB5E5CF4}" dt="2023-06-10T08:00:15.703" v="1052" actId="27028"/>
        <pc:sldMasterMkLst>
          <pc:docMk/>
          <pc:sldMasterMk cId="0" sldId="2147484521"/>
        </pc:sldMasterMkLst>
        <pc:sldLayoutChg chg="add">
          <pc:chgData name="Scott Sink" userId="007532c1-63dd-4f29-9932-df3a9735f490" providerId="ADAL" clId="{FC83FA74-9C6C-494A-B4A7-F24DFB5E5CF4}" dt="2023-06-10T08:00:15.703" v="1052" actId="27028"/>
          <pc:sldLayoutMkLst>
            <pc:docMk/>
            <pc:sldMasterMk cId="0" sldId="2147484521"/>
            <pc:sldLayoutMk cId="0" sldId="2147484522"/>
          </pc:sldLayoutMkLst>
        </pc:sldLayoutChg>
      </pc:sldMasterChg>
      <pc:sldMasterChg chg="del delSldLayout">
        <pc:chgData name="Scott Sink" userId="007532c1-63dd-4f29-9932-df3a9735f490" providerId="ADAL" clId="{FC83FA74-9C6C-494A-B4A7-F24DFB5E5CF4}" dt="2023-06-13T06:42:40.131" v="14099" actId="47"/>
        <pc:sldMasterMkLst>
          <pc:docMk/>
          <pc:sldMasterMk cId="0" sldId="2147489416"/>
        </pc:sldMasterMkLst>
        <pc:sldLayoutChg chg="del">
          <pc:chgData name="Scott Sink" userId="007532c1-63dd-4f29-9932-df3a9735f490" providerId="ADAL" clId="{FC83FA74-9C6C-494A-B4A7-F24DFB5E5CF4}" dt="2023-06-13T06:42:40.131" v="14099" actId="47"/>
          <pc:sldLayoutMkLst>
            <pc:docMk/>
            <pc:sldMasterMk cId="0" sldId="2147489416"/>
            <pc:sldLayoutMk cId="2216799841" sldId="2147489678"/>
          </pc:sldLayoutMkLst>
        </pc:sldLayoutChg>
      </pc:sldMasterChg>
      <pc:sldMasterChg chg="del delSldLayout">
        <pc:chgData name="Scott Sink" userId="007532c1-63dd-4f29-9932-df3a9735f490" providerId="ADAL" clId="{FC83FA74-9C6C-494A-B4A7-F24DFB5E5CF4}" dt="2023-06-13T06:43:05.549" v="14103" actId="47"/>
        <pc:sldMasterMkLst>
          <pc:docMk/>
          <pc:sldMasterMk cId="0" sldId="2147489519"/>
        </pc:sldMasterMkLst>
        <pc:sldLayoutChg chg="del">
          <pc:chgData name="Scott Sink" userId="007532c1-63dd-4f29-9932-df3a9735f490" providerId="ADAL" clId="{FC83FA74-9C6C-494A-B4A7-F24DFB5E5CF4}" dt="2023-06-13T06:43:05.549" v="14103" actId="47"/>
          <pc:sldLayoutMkLst>
            <pc:docMk/>
            <pc:sldMasterMk cId="0" sldId="2147489519"/>
            <pc:sldLayoutMk cId="1911845537" sldId="2147489679"/>
          </pc:sldLayoutMkLst>
        </pc:sldLayoutChg>
      </pc:sldMasterChg>
      <pc:sldMasterChg chg="add addSldLayout">
        <pc:chgData name="Scott Sink" userId="007532c1-63dd-4f29-9932-df3a9735f490" providerId="ADAL" clId="{FC83FA74-9C6C-494A-B4A7-F24DFB5E5CF4}" dt="2023-06-10T08:00:17.965" v="1054" actId="27028"/>
        <pc:sldMasterMkLst>
          <pc:docMk/>
          <pc:sldMasterMk cId="0" sldId="2147497328"/>
        </pc:sldMasterMkLst>
        <pc:sldLayoutChg chg="add">
          <pc:chgData name="Scott Sink" userId="007532c1-63dd-4f29-9932-df3a9735f490" providerId="ADAL" clId="{FC83FA74-9C6C-494A-B4A7-F24DFB5E5CF4}" dt="2023-06-10T08:00:17.965" v="1054" actId="27028"/>
          <pc:sldLayoutMkLst>
            <pc:docMk/>
            <pc:sldMasterMk cId="0" sldId="2147497328"/>
            <pc:sldLayoutMk cId="3956399100" sldId="2147497329"/>
          </pc:sldLayoutMkLst>
        </pc:sldLayoutChg>
      </pc:sldMasterChg>
      <pc:sldMasterChg chg="add addSldLayout">
        <pc:chgData name="Scott Sink" userId="007532c1-63dd-4f29-9932-df3a9735f490" providerId="ADAL" clId="{FC83FA74-9C6C-494A-B4A7-F24DFB5E5CF4}" dt="2023-06-10T08:01:15.186" v="1060" actId="27028"/>
        <pc:sldMasterMkLst>
          <pc:docMk/>
          <pc:sldMasterMk cId="0" sldId="2147497806"/>
        </pc:sldMasterMkLst>
        <pc:sldLayoutChg chg="add">
          <pc:chgData name="Scott Sink" userId="007532c1-63dd-4f29-9932-df3a9735f490" providerId="ADAL" clId="{FC83FA74-9C6C-494A-B4A7-F24DFB5E5CF4}" dt="2023-06-10T08:01:15.186" v="1060" actId="27028"/>
          <pc:sldLayoutMkLst>
            <pc:docMk/>
            <pc:sldMasterMk cId="0" sldId="2147497806"/>
            <pc:sldLayoutMk cId="0" sldId="2147483652"/>
          </pc:sldLayoutMkLst>
        </pc:sldLayoutChg>
        <pc:sldLayoutChg chg="add">
          <pc:chgData name="Scott Sink" userId="007532c1-63dd-4f29-9932-df3a9735f490" providerId="ADAL" clId="{FC83FA74-9C6C-494A-B4A7-F24DFB5E5CF4}" dt="2023-06-10T07:58:37.886" v="1032" actId="27028"/>
          <pc:sldLayoutMkLst>
            <pc:docMk/>
            <pc:sldMasterMk cId="0" sldId="2147497806"/>
            <pc:sldLayoutMk cId="0" sldId="2147497791"/>
          </pc:sldLayoutMkLst>
        </pc:sldLayoutChg>
      </pc:sldMasterChg>
      <pc:sldMasterChg chg="modSldLayout">
        <pc:chgData name="Scott Sink" userId="007532c1-63dd-4f29-9932-df3a9735f490" providerId="ADAL" clId="{FC83FA74-9C6C-494A-B4A7-F24DFB5E5CF4}" dt="2023-06-10T08:02:38.268" v="1080" actId="27028"/>
        <pc:sldMasterMkLst>
          <pc:docMk/>
          <pc:sldMasterMk cId="109284353" sldId="2147497892"/>
        </pc:sldMasterMkLst>
        <pc:sldLayoutChg chg="replId">
          <pc:chgData name="Scott Sink" userId="007532c1-63dd-4f29-9932-df3a9735f490" providerId="ADAL" clId="{FC83FA74-9C6C-494A-B4A7-F24DFB5E5CF4}" dt="2023-06-10T08:02:38.268" v="1080" actId="27028"/>
          <pc:sldLayoutMkLst>
            <pc:docMk/>
            <pc:sldMasterMk cId="109284353" sldId="2147497892"/>
            <pc:sldLayoutMk cId="2587822317" sldId="2147497899"/>
          </pc:sldLayoutMkLst>
        </pc:sldLayoutChg>
      </pc:sldMasterChg>
      <pc:sldMasterChg chg="addSldLayout">
        <pc:chgData name="Scott Sink" userId="007532c1-63dd-4f29-9932-df3a9735f490" providerId="ADAL" clId="{FC83FA74-9C6C-494A-B4A7-F24DFB5E5CF4}" dt="2023-06-10T08:01:16.253" v="1062" actId="27028"/>
        <pc:sldMasterMkLst>
          <pc:docMk/>
          <pc:sldMasterMk cId="1255074819" sldId="2147497898"/>
        </pc:sldMasterMkLst>
        <pc:sldLayoutChg chg="add">
          <pc:chgData name="Scott Sink" userId="007532c1-63dd-4f29-9932-df3a9735f490" providerId="ADAL" clId="{FC83FA74-9C6C-494A-B4A7-F24DFB5E5CF4}" dt="2023-06-10T08:01:16.253" v="1062" actId="27028"/>
          <pc:sldLayoutMkLst>
            <pc:docMk/>
            <pc:sldMasterMk cId="1255074819" sldId="2147497898"/>
            <pc:sldLayoutMk cId="1765230460" sldId="2147484644"/>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9567CA-BB92-4A9A-BD6B-601B96B80328}" type="doc">
      <dgm:prSet loTypeId="urn:microsoft.com/office/officeart/2005/8/layout/hProcess9" loCatId="process" qsTypeId="urn:microsoft.com/office/officeart/2005/8/quickstyle/simple1" qsCatId="simple" csTypeId="urn:microsoft.com/office/officeart/2005/8/colors/accent1_2" csCatId="accent1" phldr="1"/>
      <dgm:spPr/>
    </dgm:pt>
    <dgm:pt modelId="{9574182C-884C-4D4C-84F4-576AAFD629CC}">
      <dgm:prSet phldrT="[Text]"/>
      <dgm:spPr/>
      <dgm:t>
        <a:bodyPr/>
        <a:lstStyle/>
        <a:p>
          <a:r>
            <a:rPr lang="en-US" dirty="0"/>
            <a:t>1</a:t>
          </a:r>
        </a:p>
      </dgm:t>
    </dgm:pt>
    <dgm:pt modelId="{DB34E483-0B23-40B4-9B11-9C6A11C5168B}" type="parTrans" cxnId="{26A2E847-C229-4086-96B1-8F931EA49B71}">
      <dgm:prSet/>
      <dgm:spPr/>
      <dgm:t>
        <a:bodyPr/>
        <a:lstStyle/>
        <a:p>
          <a:endParaRPr lang="en-US"/>
        </a:p>
      </dgm:t>
    </dgm:pt>
    <dgm:pt modelId="{605974C4-BBCF-498E-9ACA-5A3F3889B891}" type="sibTrans" cxnId="{26A2E847-C229-4086-96B1-8F931EA49B71}">
      <dgm:prSet/>
      <dgm:spPr/>
      <dgm:t>
        <a:bodyPr/>
        <a:lstStyle/>
        <a:p>
          <a:endParaRPr lang="en-US"/>
        </a:p>
      </dgm:t>
    </dgm:pt>
    <dgm:pt modelId="{38C29DCB-130D-4B02-A9C6-030A2C0ABC74}">
      <dgm:prSet phldrT="[Text]"/>
      <dgm:spPr/>
      <dgm:t>
        <a:bodyPr/>
        <a:lstStyle/>
        <a:p>
          <a:r>
            <a:rPr lang="en-US" dirty="0"/>
            <a:t>2</a:t>
          </a:r>
        </a:p>
      </dgm:t>
    </dgm:pt>
    <dgm:pt modelId="{C83988A9-5E17-4D73-A28E-85E8274D6913}" type="parTrans" cxnId="{8F2A8285-BA92-4C7D-A699-F9346D8556F9}">
      <dgm:prSet/>
      <dgm:spPr/>
      <dgm:t>
        <a:bodyPr/>
        <a:lstStyle/>
        <a:p>
          <a:endParaRPr lang="en-US"/>
        </a:p>
      </dgm:t>
    </dgm:pt>
    <dgm:pt modelId="{067511B2-2B64-461A-B820-0F0BE4B30209}" type="sibTrans" cxnId="{8F2A8285-BA92-4C7D-A699-F9346D8556F9}">
      <dgm:prSet/>
      <dgm:spPr/>
      <dgm:t>
        <a:bodyPr/>
        <a:lstStyle/>
        <a:p>
          <a:endParaRPr lang="en-US"/>
        </a:p>
      </dgm:t>
    </dgm:pt>
    <dgm:pt modelId="{EA3FF36D-B59F-4EA6-AD00-C82300B6AA60}">
      <dgm:prSet phldrT="[Text]"/>
      <dgm:spPr/>
      <dgm:t>
        <a:bodyPr/>
        <a:lstStyle/>
        <a:p>
          <a:r>
            <a:rPr lang="en-US" dirty="0"/>
            <a:t>3</a:t>
          </a:r>
        </a:p>
      </dgm:t>
    </dgm:pt>
    <dgm:pt modelId="{B0C58A7C-C616-4B22-8322-5F6EC36912A9}" type="parTrans" cxnId="{6AE261CE-0BBE-4A0A-A08F-E1AB62E64DBB}">
      <dgm:prSet/>
      <dgm:spPr/>
      <dgm:t>
        <a:bodyPr/>
        <a:lstStyle/>
        <a:p>
          <a:endParaRPr lang="en-US"/>
        </a:p>
      </dgm:t>
    </dgm:pt>
    <dgm:pt modelId="{7DDB0E9F-5F5D-44BA-935A-04BFBDDB6771}" type="sibTrans" cxnId="{6AE261CE-0BBE-4A0A-A08F-E1AB62E64DBB}">
      <dgm:prSet/>
      <dgm:spPr/>
      <dgm:t>
        <a:bodyPr/>
        <a:lstStyle/>
        <a:p>
          <a:endParaRPr lang="en-US"/>
        </a:p>
      </dgm:t>
    </dgm:pt>
    <dgm:pt modelId="{8B990D6B-69E0-41B5-9EBD-9CF14E563D4B}" type="pres">
      <dgm:prSet presAssocID="{569567CA-BB92-4A9A-BD6B-601B96B80328}" presName="CompostProcess" presStyleCnt="0">
        <dgm:presLayoutVars>
          <dgm:dir/>
          <dgm:resizeHandles val="exact"/>
        </dgm:presLayoutVars>
      </dgm:prSet>
      <dgm:spPr/>
    </dgm:pt>
    <dgm:pt modelId="{3E894268-4237-449E-A60C-C5E7541273AE}" type="pres">
      <dgm:prSet presAssocID="{569567CA-BB92-4A9A-BD6B-601B96B80328}" presName="arrow" presStyleLbl="bgShp" presStyleIdx="0" presStyleCnt="1"/>
      <dgm:spPr/>
    </dgm:pt>
    <dgm:pt modelId="{1E325845-78C8-4FFE-8EB9-D4BE12A06786}" type="pres">
      <dgm:prSet presAssocID="{569567CA-BB92-4A9A-BD6B-601B96B80328}" presName="linearProcess" presStyleCnt="0"/>
      <dgm:spPr/>
    </dgm:pt>
    <dgm:pt modelId="{1AB5D1DE-F4E4-45FD-84E9-0CD865ED0316}" type="pres">
      <dgm:prSet presAssocID="{9574182C-884C-4D4C-84F4-576AAFD629CC}" presName="textNode" presStyleLbl="node1" presStyleIdx="0" presStyleCnt="3">
        <dgm:presLayoutVars>
          <dgm:bulletEnabled val="1"/>
        </dgm:presLayoutVars>
      </dgm:prSet>
      <dgm:spPr/>
    </dgm:pt>
    <dgm:pt modelId="{78FF8572-20C0-47F5-A681-8B7C23E949F1}" type="pres">
      <dgm:prSet presAssocID="{605974C4-BBCF-498E-9ACA-5A3F3889B891}" presName="sibTrans" presStyleCnt="0"/>
      <dgm:spPr/>
    </dgm:pt>
    <dgm:pt modelId="{0CDFE726-68D2-400E-9033-0C80DD49797A}" type="pres">
      <dgm:prSet presAssocID="{38C29DCB-130D-4B02-A9C6-030A2C0ABC74}" presName="textNode" presStyleLbl="node1" presStyleIdx="1" presStyleCnt="3">
        <dgm:presLayoutVars>
          <dgm:bulletEnabled val="1"/>
        </dgm:presLayoutVars>
      </dgm:prSet>
      <dgm:spPr/>
    </dgm:pt>
    <dgm:pt modelId="{76F52257-EB7A-4820-8EE7-2F9DA150A4C6}" type="pres">
      <dgm:prSet presAssocID="{067511B2-2B64-461A-B820-0F0BE4B30209}" presName="sibTrans" presStyleCnt="0"/>
      <dgm:spPr/>
    </dgm:pt>
    <dgm:pt modelId="{C6A83ED0-CD6F-4AEF-BC65-7CFE893C33F5}" type="pres">
      <dgm:prSet presAssocID="{EA3FF36D-B59F-4EA6-AD00-C82300B6AA60}" presName="textNode" presStyleLbl="node1" presStyleIdx="2" presStyleCnt="3">
        <dgm:presLayoutVars>
          <dgm:bulletEnabled val="1"/>
        </dgm:presLayoutVars>
      </dgm:prSet>
      <dgm:spPr/>
    </dgm:pt>
  </dgm:ptLst>
  <dgm:cxnLst>
    <dgm:cxn modelId="{3B84B901-1F92-4563-9720-08C92B39944A}" type="presOf" srcId="{9574182C-884C-4D4C-84F4-576AAFD629CC}" destId="{1AB5D1DE-F4E4-45FD-84E9-0CD865ED0316}" srcOrd="0" destOrd="0" presId="urn:microsoft.com/office/officeart/2005/8/layout/hProcess9"/>
    <dgm:cxn modelId="{26A2E847-C229-4086-96B1-8F931EA49B71}" srcId="{569567CA-BB92-4A9A-BD6B-601B96B80328}" destId="{9574182C-884C-4D4C-84F4-576AAFD629CC}" srcOrd="0" destOrd="0" parTransId="{DB34E483-0B23-40B4-9B11-9C6A11C5168B}" sibTransId="{605974C4-BBCF-498E-9ACA-5A3F3889B891}"/>
    <dgm:cxn modelId="{C1F07155-58B1-4D75-8DE1-77437A05E659}" type="presOf" srcId="{569567CA-BB92-4A9A-BD6B-601B96B80328}" destId="{8B990D6B-69E0-41B5-9EBD-9CF14E563D4B}" srcOrd="0" destOrd="0" presId="urn:microsoft.com/office/officeart/2005/8/layout/hProcess9"/>
    <dgm:cxn modelId="{8F2A8285-BA92-4C7D-A699-F9346D8556F9}" srcId="{569567CA-BB92-4A9A-BD6B-601B96B80328}" destId="{38C29DCB-130D-4B02-A9C6-030A2C0ABC74}" srcOrd="1" destOrd="0" parTransId="{C83988A9-5E17-4D73-A28E-85E8274D6913}" sibTransId="{067511B2-2B64-461A-B820-0F0BE4B30209}"/>
    <dgm:cxn modelId="{E335FCC3-97DB-46D8-B31C-72DDF522861D}" type="presOf" srcId="{38C29DCB-130D-4B02-A9C6-030A2C0ABC74}" destId="{0CDFE726-68D2-400E-9033-0C80DD49797A}" srcOrd="0" destOrd="0" presId="urn:microsoft.com/office/officeart/2005/8/layout/hProcess9"/>
    <dgm:cxn modelId="{6AE261CE-0BBE-4A0A-A08F-E1AB62E64DBB}" srcId="{569567CA-BB92-4A9A-BD6B-601B96B80328}" destId="{EA3FF36D-B59F-4EA6-AD00-C82300B6AA60}" srcOrd="2" destOrd="0" parTransId="{B0C58A7C-C616-4B22-8322-5F6EC36912A9}" sibTransId="{7DDB0E9F-5F5D-44BA-935A-04BFBDDB6771}"/>
    <dgm:cxn modelId="{824E9DDC-4130-4B45-866D-1EC58F0C47EF}" type="presOf" srcId="{EA3FF36D-B59F-4EA6-AD00-C82300B6AA60}" destId="{C6A83ED0-CD6F-4AEF-BC65-7CFE893C33F5}" srcOrd="0" destOrd="0" presId="urn:microsoft.com/office/officeart/2005/8/layout/hProcess9"/>
    <dgm:cxn modelId="{9ADE7D7A-FF78-46E0-B41D-4EE1ADB5360A}" type="presParOf" srcId="{8B990D6B-69E0-41B5-9EBD-9CF14E563D4B}" destId="{3E894268-4237-449E-A60C-C5E7541273AE}" srcOrd="0" destOrd="0" presId="urn:microsoft.com/office/officeart/2005/8/layout/hProcess9"/>
    <dgm:cxn modelId="{6732A742-D635-4AE8-93BD-D4585BA5851C}" type="presParOf" srcId="{8B990D6B-69E0-41B5-9EBD-9CF14E563D4B}" destId="{1E325845-78C8-4FFE-8EB9-D4BE12A06786}" srcOrd="1" destOrd="0" presId="urn:microsoft.com/office/officeart/2005/8/layout/hProcess9"/>
    <dgm:cxn modelId="{CAC37F6D-AF00-4795-AAB6-4C86FF55A072}" type="presParOf" srcId="{1E325845-78C8-4FFE-8EB9-D4BE12A06786}" destId="{1AB5D1DE-F4E4-45FD-84E9-0CD865ED0316}" srcOrd="0" destOrd="0" presId="urn:microsoft.com/office/officeart/2005/8/layout/hProcess9"/>
    <dgm:cxn modelId="{FFFB178A-83A7-4175-A373-1C004212E234}" type="presParOf" srcId="{1E325845-78C8-4FFE-8EB9-D4BE12A06786}" destId="{78FF8572-20C0-47F5-A681-8B7C23E949F1}" srcOrd="1" destOrd="0" presId="urn:microsoft.com/office/officeart/2005/8/layout/hProcess9"/>
    <dgm:cxn modelId="{B2EB40B6-7B4E-4115-9B5F-2F2505DF7351}" type="presParOf" srcId="{1E325845-78C8-4FFE-8EB9-D4BE12A06786}" destId="{0CDFE726-68D2-400E-9033-0C80DD49797A}" srcOrd="2" destOrd="0" presId="urn:microsoft.com/office/officeart/2005/8/layout/hProcess9"/>
    <dgm:cxn modelId="{93AAA53C-AEAD-4BFD-8058-CD8F3846D32B}" type="presParOf" srcId="{1E325845-78C8-4FFE-8EB9-D4BE12A06786}" destId="{76F52257-EB7A-4820-8EE7-2F9DA150A4C6}" srcOrd="3" destOrd="0" presId="urn:microsoft.com/office/officeart/2005/8/layout/hProcess9"/>
    <dgm:cxn modelId="{E87A5807-BAFA-4CAD-8FD1-9C9D867F773C}" type="presParOf" srcId="{1E325845-78C8-4FFE-8EB9-D4BE12A06786}" destId="{C6A83ED0-CD6F-4AEF-BC65-7CFE893C33F5}"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4B0644-E3E1-4E03-AE17-11C74B90AAEA}" type="doc">
      <dgm:prSet loTypeId="urn:microsoft.com/office/officeart/2005/8/layout/process1" loCatId="process" qsTypeId="urn:microsoft.com/office/officeart/2005/8/quickstyle/simple1" qsCatId="simple" csTypeId="urn:microsoft.com/office/officeart/2005/8/colors/accent0_1" csCatId="mainScheme" phldr="1"/>
      <dgm:spPr/>
    </dgm:pt>
    <dgm:pt modelId="{E0E65301-BE87-4144-9B73-8FFBB1D948D9}">
      <dgm:prSet phldrT="[Text]" custT="1"/>
      <dgm:spPr/>
      <dgm:t>
        <a:bodyPr/>
        <a:lstStyle/>
        <a:p>
          <a:r>
            <a:rPr lang="en-US" sz="1200" dirty="0"/>
            <a:t>Application Processed</a:t>
          </a:r>
        </a:p>
      </dgm:t>
    </dgm:pt>
    <dgm:pt modelId="{4A35EE3F-BC89-4E64-9A39-86F2FA8CE0D2}" type="parTrans" cxnId="{5898DF3F-26D6-4E19-8C75-A0260579301B}">
      <dgm:prSet/>
      <dgm:spPr/>
      <dgm:t>
        <a:bodyPr/>
        <a:lstStyle/>
        <a:p>
          <a:endParaRPr lang="en-US"/>
        </a:p>
      </dgm:t>
    </dgm:pt>
    <dgm:pt modelId="{71D21414-8F85-47EA-B661-15E0697ACDE9}" type="sibTrans" cxnId="{5898DF3F-26D6-4E19-8C75-A0260579301B}">
      <dgm:prSet/>
      <dgm:spPr/>
      <dgm:t>
        <a:bodyPr/>
        <a:lstStyle/>
        <a:p>
          <a:endParaRPr lang="en-US"/>
        </a:p>
      </dgm:t>
    </dgm:pt>
    <dgm:pt modelId="{52EC111F-CE90-4CA0-A8EE-D56E708C4936}">
      <dgm:prSet phldrT="[Text]"/>
      <dgm:spPr/>
      <dgm:t>
        <a:bodyPr/>
        <a:lstStyle/>
        <a:p>
          <a:r>
            <a:rPr lang="en-US" dirty="0"/>
            <a:t>Assessment Completed</a:t>
          </a:r>
        </a:p>
      </dgm:t>
    </dgm:pt>
    <dgm:pt modelId="{B4CC8DE3-EAA1-4623-9660-3A47905EB7F5}" type="parTrans" cxnId="{0099A90C-AEA9-449D-B2A3-4E0786BA3464}">
      <dgm:prSet/>
      <dgm:spPr/>
      <dgm:t>
        <a:bodyPr/>
        <a:lstStyle/>
        <a:p>
          <a:endParaRPr lang="en-US"/>
        </a:p>
      </dgm:t>
    </dgm:pt>
    <dgm:pt modelId="{C30DC886-806E-4C70-996A-1D701B0255F2}" type="sibTrans" cxnId="{0099A90C-AEA9-449D-B2A3-4E0786BA3464}">
      <dgm:prSet/>
      <dgm:spPr/>
      <dgm:t>
        <a:bodyPr/>
        <a:lstStyle/>
        <a:p>
          <a:endParaRPr lang="en-US"/>
        </a:p>
      </dgm:t>
    </dgm:pt>
    <dgm:pt modelId="{147A0A7E-43FD-4919-BED9-FD130E8F846F}">
      <dgm:prSet phldrT="[Text]"/>
      <dgm:spPr/>
      <dgm:t>
        <a:bodyPr/>
        <a:lstStyle/>
        <a:p>
          <a:r>
            <a:rPr lang="en-US" dirty="0"/>
            <a:t>Training Complete</a:t>
          </a:r>
        </a:p>
      </dgm:t>
    </dgm:pt>
    <dgm:pt modelId="{2075EA3C-82E1-4316-98AC-6308FC7C0BC9}" type="parTrans" cxnId="{EC5132A7-9E43-406A-AB79-A456BF85DAF3}">
      <dgm:prSet/>
      <dgm:spPr/>
      <dgm:t>
        <a:bodyPr/>
        <a:lstStyle/>
        <a:p>
          <a:endParaRPr lang="en-US"/>
        </a:p>
      </dgm:t>
    </dgm:pt>
    <dgm:pt modelId="{6C2AB92C-3180-434F-AD15-32B07463CEAD}" type="sibTrans" cxnId="{EC5132A7-9E43-406A-AB79-A456BF85DAF3}">
      <dgm:prSet/>
      <dgm:spPr/>
      <dgm:t>
        <a:bodyPr/>
        <a:lstStyle/>
        <a:p>
          <a:endParaRPr lang="en-US"/>
        </a:p>
      </dgm:t>
    </dgm:pt>
    <dgm:pt modelId="{6F9E9B9A-2888-42EA-9B63-1468C3D1306C}">
      <dgm:prSet/>
      <dgm:spPr/>
      <dgm:t>
        <a:bodyPr/>
        <a:lstStyle/>
        <a:p>
          <a:r>
            <a:rPr lang="en-US" dirty="0"/>
            <a:t>Evaluation Complete</a:t>
          </a:r>
        </a:p>
      </dgm:t>
    </dgm:pt>
    <dgm:pt modelId="{B8BE33AD-91A8-4EFB-8C97-0F2E4F664216}" type="parTrans" cxnId="{550C62E7-1E07-488F-8F9E-B83C0E832464}">
      <dgm:prSet/>
      <dgm:spPr/>
      <dgm:t>
        <a:bodyPr/>
        <a:lstStyle/>
        <a:p>
          <a:endParaRPr lang="en-US"/>
        </a:p>
      </dgm:t>
    </dgm:pt>
    <dgm:pt modelId="{5C6992F6-BFB0-4A49-A490-5B5887E40E15}" type="sibTrans" cxnId="{550C62E7-1E07-488F-8F9E-B83C0E832464}">
      <dgm:prSet/>
      <dgm:spPr/>
      <dgm:t>
        <a:bodyPr/>
        <a:lstStyle/>
        <a:p>
          <a:endParaRPr lang="en-US"/>
        </a:p>
      </dgm:t>
    </dgm:pt>
    <dgm:pt modelId="{D3E00C65-B9E1-4692-BA24-8859066709BD}" type="pres">
      <dgm:prSet presAssocID="{D34B0644-E3E1-4E03-AE17-11C74B90AAEA}" presName="Name0" presStyleCnt="0">
        <dgm:presLayoutVars>
          <dgm:dir/>
          <dgm:resizeHandles val="exact"/>
        </dgm:presLayoutVars>
      </dgm:prSet>
      <dgm:spPr/>
    </dgm:pt>
    <dgm:pt modelId="{43ABED94-81BE-419C-B985-CB91ADB1B565}" type="pres">
      <dgm:prSet presAssocID="{E0E65301-BE87-4144-9B73-8FFBB1D948D9}" presName="node" presStyleLbl="node1" presStyleIdx="0" presStyleCnt="4">
        <dgm:presLayoutVars>
          <dgm:bulletEnabled val="1"/>
        </dgm:presLayoutVars>
      </dgm:prSet>
      <dgm:spPr>
        <a:prstGeom prst="cube">
          <a:avLst/>
        </a:prstGeom>
      </dgm:spPr>
    </dgm:pt>
    <dgm:pt modelId="{BFDE7423-4F8B-4AD8-81E4-4815DBF21C0E}" type="pres">
      <dgm:prSet presAssocID="{71D21414-8F85-47EA-B661-15E0697ACDE9}" presName="sibTrans" presStyleLbl="sibTrans2D1" presStyleIdx="0" presStyleCnt="3"/>
      <dgm:spPr/>
    </dgm:pt>
    <dgm:pt modelId="{0B492E45-0EB5-4EF9-8591-52FEC80C2F9D}" type="pres">
      <dgm:prSet presAssocID="{71D21414-8F85-47EA-B661-15E0697ACDE9}" presName="connectorText" presStyleLbl="sibTrans2D1" presStyleIdx="0" presStyleCnt="3"/>
      <dgm:spPr/>
    </dgm:pt>
    <dgm:pt modelId="{184231DB-3D68-4347-BB21-09287CF78C19}" type="pres">
      <dgm:prSet presAssocID="{52EC111F-CE90-4CA0-A8EE-D56E708C4936}" presName="node" presStyleLbl="node1" presStyleIdx="1" presStyleCnt="4">
        <dgm:presLayoutVars>
          <dgm:bulletEnabled val="1"/>
        </dgm:presLayoutVars>
      </dgm:prSet>
      <dgm:spPr>
        <a:prstGeom prst="cube">
          <a:avLst/>
        </a:prstGeom>
      </dgm:spPr>
    </dgm:pt>
    <dgm:pt modelId="{CCEBBCD2-A8B3-4AEF-BDC9-04A42B656296}" type="pres">
      <dgm:prSet presAssocID="{C30DC886-806E-4C70-996A-1D701B0255F2}" presName="sibTrans" presStyleLbl="sibTrans2D1" presStyleIdx="1" presStyleCnt="3"/>
      <dgm:spPr/>
    </dgm:pt>
    <dgm:pt modelId="{CF37EBBF-625C-46B9-B8E0-CD9D40BEFB82}" type="pres">
      <dgm:prSet presAssocID="{C30DC886-806E-4C70-996A-1D701B0255F2}" presName="connectorText" presStyleLbl="sibTrans2D1" presStyleIdx="1" presStyleCnt="3"/>
      <dgm:spPr/>
    </dgm:pt>
    <dgm:pt modelId="{CD922DBD-06DD-4FDD-A865-86062E7D2EDA}" type="pres">
      <dgm:prSet presAssocID="{6F9E9B9A-2888-42EA-9B63-1468C3D1306C}" presName="node" presStyleLbl="node1" presStyleIdx="2" presStyleCnt="4">
        <dgm:presLayoutVars>
          <dgm:bulletEnabled val="1"/>
        </dgm:presLayoutVars>
      </dgm:prSet>
      <dgm:spPr>
        <a:prstGeom prst="cube">
          <a:avLst/>
        </a:prstGeom>
      </dgm:spPr>
    </dgm:pt>
    <dgm:pt modelId="{B3AA4B68-13AE-4EEE-B524-9B60E01B9EE7}" type="pres">
      <dgm:prSet presAssocID="{5C6992F6-BFB0-4A49-A490-5B5887E40E15}" presName="sibTrans" presStyleLbl="sibTrans2D1" presStyleIdx="2" presStyleCnt="3"/>
      <dgm:spPr/>
    </dgm:pt>
    <dgm:pt modelId="{BE3F464E-058A-478D-B956-9A6A720BFCED}" type="pres">
      <dgm:prSet presAssocID="{5C6992F6-BFB0-4A49-A490-5B5887E40E15}" presName="connectorText" presStyleLbl="sibTrans2D1" presStyleIdx="2" presStyleCnt="3"/>
      <dgm:spPr/>
    </dgm:pt>
    <dgm:pt modelId="{4586E065-3F94-4B80-A22A-CBAB27F3A73D}" type="pres">
      <dgm:prSet presAssocID="{147A0A7E-43FD-4919-BED9-FD130E8F846F}" presName="node" presStyleLbl="node1" presStyleIdx="3" presStyleCnt="4">
        <dgm:presLayoutVars>
          <dgm:bulletEnabled val="1"/>
        </dgm:presLayoutVars>
      </dgm:prSet>
      <dgm:spPr>
        <a:prstGeom prst="cube">
          <a:avLst/>
        </a:prstGeom>
      </dgm:spPr>
    </dgm:pt>
  </dgm:ptLst>
  <dgm:cxnLst>
    <dgm:cxn modelId="{0099A90C-AEA9-449D-B2A3-4E0786BA3464}" srcId="{D34B0644-E3E1-4E03-AE17-11C74B90AAEA}" destId="{52EC111F-CE90-4CA0-A8EE-D56E708C4936}" srcOrd="1" destOrd="0" parTransId="{B4CC8DE3-EAA1-4623-9660-3A47905EB7F5}" sibTransId="{C30DC886-806E-4C70-996A-1D701B0255F2}"/>
    <dgm:cxn modelId="{F28FE532-01E0-4A9E-A95A-C8C39ACC7E67}" type="presOf" srcId="{6F9E9B9A-2888-42EA-9B63-1468C3D1306C}" destId="{CD922DBD-06DD-4FDD-A865-86062E7D2EDA}" srcOrd="0" destOrd="0" presId="urn:microsoft.com/office/officeart/2005/8/layout/process1"/>
    <dgm:cxn modelId="{5898DF3F-26D6-4E19-8C75-A0260579301B}" srcId="{D34B0644-E3E1-4E03-AE17-11C74B90AAEA}" destId="{E0E65301-BE87-4144-9B73-8FFBB1D948D9}" srcOrd="0" destOrd="0" parTransId="{4A35EE3F-BC89-4E64-9A39-86F2FA8CE0D2}" sibTransId="{71D21414-8F85-47EA-B661-15E0697ACDE9}"/>
    <dgm:cxn modelId="{7BE3FA41-550D-42F8-9F28-10F60A12782A}" type="presOf" srcId="{5C6992F6-BFB0-4A49-A490-5B5887E40E15}" destId="{B3AA4B68-13AE-4EEE-B524-9B60E01B9EE7}" srcOrd="0" destOrd="0" presId="urn:microsoft.com/office/officeart/2005/8/layout/process1"/>
    <dgm:cxn modelId="{966B7677-B18E-479F-988E-BA28121F0467}" type="presOf" srcId="{D34B0644-E3E1-4E03-AE17-11C74B90AAEA}" destId="{D3E00C65-B9E1-4692-BA24-8859066709BD}" srcOrd="0" destOrd="0" presId="urn:microsoft.com/office/officeart/2005/8/layout/process1"/>
    <dgm:cxn modelId="{04B6BD97-6855-4ECA-B7AD-641773795247}" type="presOf" srcId="{71D21414-8F85-47EA-B661-15E0697ACDE9}" destId="{BFDE7423-4F8B-4AD8-81E4-4815DBF21C0E}" srcOrd="0" destOrd="0" presId="urn:microsoft.com/office/officeart/2005/8/layout/process1"/>
    <dgm:cxn modelId="{841A5F9D-8122-45CA-8CDF-0108D999B86C}" type="presOf" srcId="{147A0A7E-43FD-4919-BED9-FD130E8F846F}" destId="{4586E065-3F94-4B80-A22A-CBAB27F3A73D}" srcOrd="0" destOrd="0" presId="urn:microsoft.com/office/officeart/2005/8/layout/process1"/>
    <dgm:cxn modelId="{EC5132A7-9E43-406A-AB79-A456BF85DAF3}" srcId="{D34B0644-E3E1-4E03-AE17-11C74B90AAEA}" destId="{147A0A7E-43FD-4919-BED9-FD130E8F846F}" srcOrd="3" destOrd="0" parTransId="{2075EA3C-82E1-4316-98AC-6308FC7C0BC9}" sibTransId="{6C2AB92C-3180-434F-AD15-32B07463CEAD}"/>
    <dgm:cxn modelId="{3DD520B9-8E1A-4B3C-9B25-CB2DCFFB34FD}" type="presOf" srcId="{52EC111F-CE90-4CA0-A8EE-D56E708C4936}" destId="{184231DB-3D68-4347-BB21-09287CF78C19}" srcOrd="0" destOrd="0" presId="urn:microsoft.com/office/officeart/2005/8/layout/process1"/>
    <dgm:cxn modelId="{7A1D37C8-08EB-4C6F-A2DE-397362C6DDC8}" type="presOf" srcId="{C30DC886-806E-4C70-996A-1D701B0255F2}" destId="{CCEBBCD2-A8B3-4AEF-BDC9-04A42B656296}" srcOrd="0" destOrd="0" presId="urn:microsoft.com/office/officeart/2005/8/layout/process1"/>
    <dgm:cxn modelId="{E4EBD3C8-E8F1-46EA-BC9F-1342BCEFD443}" type="presOf" srcId="{E0E65301-BE87-4144-9B73-8FFBB1D948D9}" destId="{43ABED94-81BE-419C-B985-CB91ADB1B565}" srcOrd="0" destOrd="0" presId="urn:microsoft.com/office/officeart/2005/8/layout/process1"/>
    <dgm:cxn modelId="{3B27E6E2-F737-451D-85A5-CF19F849EF03}" type="presOf" srcId="{5C6992F6-BFB0-4A49-A490-5B5887E40E15}" destId="{BE3F464E-058A-478D-B956-9A6A720BFCED}" srcOrd="1" destOrd="0" presId="urn:microsoft.com/office/officeart/2005/8/layout/process1"/>
    <dgm:cxn modelId="{550C62E7-1E07-488F-8F9E-B83C0E832464}" srcId="{D34B0644-E3E1-4E03-AE17-11C74B90AAEA}" destId="{6F9E9B9A-2888-42EA-9B63-1468C3D1306C}" srcOrd="2" destOrd="0" parTransId="{B8BE33AD-91A8-4EFB-8C97-0F2E4F664216}" sibTransId="{5C6992F6-BFB0-4A49-A490-5B5887E40E15}"/>
    <dgm:cxn modelId="{6BE9DFF5-C323-4074-95B9-2B011A391920}" type="presOf" srcId="{C30DC886-806E-4C70-996A-1D701B0255F2}" destId="{CF37EBBF-625C-46B9-B8E0-CD9D40BEFB82}" srcOrd="1" destOrd="0" presId="urn:microsoft.com/office/officeart/2005/8/layout/process1"/>
    <dgm:cxn modelId="{A699C1F9-0E41-43FC-ACD9-C2722FDBDBE1}" type="presOf" srcId="{71D21414-8F85-47EA-B661-15E0697ACDE9}" destId="{0B492E45-0EB5-4EF9-8591-52FEC80C2F9D}" srcOrd="1" destOrd="0" presId="urn:microsoft.com/office/officeart/2005/8/layout/process1"/>
    <dgm:cxn modelId="{69D8C19A-C151-407B-9831-A88F0CD4F982}" type="presParOf" srcId="{D3E00C65-B9E1-4692-BA24-8859066709BD}" destId="{43ABED94-81BE-419C-B985-CB91ADB1B565}" srcOrd="0" destOrd="0" presId="urn:microsoft.com/office/officeart/2005/8/layout/process1"/>
    <dgm:cxn modelId="{C4B2A355-74FC-4930-9311-B8951069D8EC}" type="presParOf" srcId="{D3E00C65-B9E1-4692-BA24-8859066709BD}" destId="{BFDE7423-4F8B-4AD8-81E4-4815DBF21C0E}" srcOrd="1" destOrd="0" presId="urn:microsoft.com/office/officeart/2005/8/layout/process1"/>
    <dgm:cxn modelId="{BCF88F8B-3FFB-4272-B01E-38259C37D02F}" type="presParOf" srcId="{BFDE7423-4F8B-4AD8-81E4-4815DBF21C0E}" destId="{0B492E45-0EB5-4EF9-8591-52FEC80C2F9D}" srcOrd="0" destOrd="0" presId="urn:microsoft.com/office/officeart/2005/8/layout/process1"/>
    <dgm:cxn modelId="{39AE25EF-BB92-4703-9A84-88BFFA6A9FF0}" type="presParOf" srcId="{D3E00C65-B9E1-4692-BA24-8859066709BD}" destId="{184231DB-3D68-4347-BB21-09287CF78C19}" srcOrd="2" destOrd="0" presId="urn:microsoft.com/office/officeart/2005/8/layout/process1"/>
    <dgm:cxn modelId="{47C2A726-5396-4939-9AB5-338C61352F74}" type="presParOf" srcId="{D3E00C65-B9E1-4692-BA24-8859066709BD}" destId="{CCEBBCD2-A8B3-4AEF-BDC9-04A42B656296}" srcOrd="3" destOrd="0" presId="urn:microsoft.com/office/officeart/2005/8/layout/process1"/>
    <dgm:cxn modelId="{E9E8A65B-E5D0-42DC-B34E-08BD7747A807}" type="presParOf" srcId="{CCEBBCD2-A8B3-4AEF-BDC9-04A42B656296}" destId="{CF37EBBF-625C-46B9-B8E0-CD9D40BEFB82}" srcOrd="0" destOrd="0" presId="urn:microsoft.com/office/officeart/2005/8/layout/process1"/>
    <dgm:cxn modelId="{29096AAF-01C7-4D0B-98CD-F4FC12577A7C}" type="presParOf" srcId="{D3E00C65-B9E1-4692-BA24-8859066709BD}" destId="{CD922DBD-06DD-4FDD-A865-86062E7D2EDA}" srcOrd="4" destOrd="0" presId="urn:microsoft.com/office/officeart/2005/8/layout/process1"/>
    <dgm:cxn modelId="{1C09836F-988D-4A56-B7D4-6DCAA9BA57F1}" type="presParOf" srcId="{D3E00C65-B9E1-4692-BA24-8859066709BD}" destId="{B3AA4B68-13AE-4EEE-B524-9B60E01B9EE7}" srcOrd="5" destOrd="0" presId="urn:microsoft.com/office/officeart/2005/8/layout/process1"/>
    <dgm:cxn modelId="{5C62F9CF-41B2-4615-9FB1-83152B975081}" type="presParOf" srcId="{B3AA4B68-13AE-4EEE-B524-9B60E01B9EE7}" destId="{BE3F464E-058A-478D-B956-9A6A720BFCED}" srcOrd="0" destOrd="0" presId="urn:microsoft.com/office/officeart/2005/8/layout/process1"/>
    <dgm:cxn modelId="{6369DB23-6EFA-429A-8A82-926B28765F1F}" type="presParOf" srcId="{D3E00C65-B9E1-4692-BA24-8859066709BD}" destId="{4586E065-3F94-4B80-A22A-CBAB27F3A73D}"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34B0644-E3E1-4E03-AE17-11C74B90AAEA}" type="doc">
      <dgm:prSet loTypeId="urn:microsoft.com/office/officeart/2005/8/layout/process1" loCatId="process" qsTypeId="urn:microsoft.com/office/officeart/2005/8/quickstyle/simple1" qsCatId="simple" csTypeId="urn:microsoft.com/office/officeart/2005/8/colors/accent0_1" csCatId="mainScheme" phldr="1"/>
      <dgm:spPr/>
    </dgm:pt>
    <dgm:pt modelId="{E0E65301-BE87-4144-9B73-8FFBB1D948D9}">
      <dgm:prSet phldrT="[Text]" custT="1"/>
      <dgm:spPr/>
      <dgm:t>
        <a:bodyPr/>
        <a:lstStyle/>
        <a:p>
          <a:r>
            <a:rPr lang="en-US" sz="1200" dirty="0"/>
            <a:t>Application Processed</a:t>
          </a:r>
        </a:p>
      </dgm:t>
    </dgm:pt>
    <dgm:pt modelId="{4A35EE3F-BC89-4E64-9A39-86F2FA8CE0D2}" type="parTrans" cxnId="{5898DF3F-26D6-4E19-8C75-A0260579301B}">
      <dgm:prSet/>
      <dgm:spPr/>
      <dgm:t>
        <a:bodyPr/>
        <a:lstStyle/>
        <a:p>
          <a:endParaRPr lang="en-US"/>
        </a:p>
      </dgm:t>
    </dgm:pt>
    <dgm:pt modelId="{71D21414-8F85-47EA-B661-15E0697ACDE9}" type="sibTrans" cxnId="{5898DF3F-26D6-4E19-8C75-A0260579301B}">
      <dgm:prSet/>
      <dgm:spPr/>
      <dgm:t>
        <a:bodyPr/>
        <a:lstStyle/>
        <a:p>
          <a:endParaRPr lang="en-US"/>
        </a:p>
      </dgm:t>
    </dgm:pt>
    <dgm:pt modelId="{52EC111F-CE90-4CA0-A8EE-D56E708C4936}">
      <dgm:prSet phldrT="[Text]"/>
      <dgm:spPr/>
      <dgm:t>
        <a:bodyPr/>
        <a:lstStyle/>
        <a:p>
          <a:r>
            <a:rPr lang="en-US" dirty="0"/>
            <a:t>Assessment Completed</a:t>
          </a:r>
        </a:p>
      </dgm:t>
    </dgm:pt>
    <dgm:pt modelId="{B4CC8DE3-EAA1-4623-9660-3A47905EB7F5}" type="parTrans" cxnId="{0099A90C-AEA9-449D-B2A3-4E0786BA3464}">
      <dgm:prSet/>
      <dgm:spPr/>
      <dgm:t>
        <a:bodyPr/>
        <a:lstStyle/>
        <a:p>
          <a:endParaRPr lang="en-US"/>
        </a:p>
      </dgm:t>
    </dgm:pt>
    <dgm:pt modelId="{C30DC886-806E-4C70-996A-1D701B0255F2}" type="sibTrans" cxnId="{0099A90C-AEA9-449D-B2A3-4E0786BA3464}">
      <dgm:prSet/>
      <dgm:spPr/>
      <dgm:t>
        <a:bodyPr/>
        <a:lstStyle/>
        <a:p>
          <a:endParaRPr lang="en-US"/>
        </a:p>
      </dgm:t>
    </dgm:pt>
    <dgm:pt modelId="{147A0A7E-43FD-4919-BED9-FD130E8F846F}">
      <dgm:prSet phldrT="[Text]" custT="1"/>
      <dgm:spPr/>
      <dgm:t>
        <a:bodyPr/>
        <a:lstStyle/>
        <a:p>
          <a:r>
            <a:rPr lang="en-US" sz="1400" dirty="0"/>
            <a:t>Training Complete</a:t>
          </a:r>
          <a:br>
            <a:rPr lang="en-US" sz="1400" dirty="0"/>
          </a:br>
          <a:r>
            <a:rPr lang="en-US" sz="1400" dirty="0"/>
            <a:t>[27 / 50]</a:t>
          </a:r>
        </a:p>
      </dgm:t>
    </dgm:pt>
    <dgm:pt modelId="{2075EA3C-82E1-4316-98AC-6308FC7C0BC9}" type="parTrans" cxnId="{EC5132A7-9E43-406A-AB79-A456BF85DAF3}">
      <dgm:prSet/>
      <dgm:spPr/>
      <dgm:t>
        <a:bodyPr/>
        <a:lstStyle/>
        <a:p>
          <a:endParaRPr lang="en-US"/>
        </a:p>
      </dgm:t>
    </dgm:pt>
    <dgm:pt modelId="{6C2AB92C-3180-434F-AD15-32B07463CEAD}" type="sibTrans" cxnId="{EC5132A7-9E43-406A-AB79-A456BF85DAF3}">
      <dgm:prSet/>
      <dgm:spPr/>
      <dgm:t>
        <a:bodyPr/>
        <a:lstStyle/>
        <a:p>
          <a:endParaRPr lang="en-US"/>
        </a:p>
      </dgm:t>
    </dgm:pt>
    <dgm:pt modelId="{D3E00C65-B9E1-4692-BA24-8859066709BD}" type="pres">
      <dgm:prSet presAssocID="{D34B0644-E3E1-4E03-AE17-11C74B90AAEA}" presName="Name0" presStyleCnt="0">
        <dgm:presLayoutVars>
          <dgm:dir/>
          <dgm:resizeHandles val="exact"/>
        </dgm:presLayoutVars>
      </dgm:prSet>
      <dgm:spPr/>
    </dgm:pt>
    <dgm:pt modelId="{43ABED94-81BE-419C-B985-CB91ADB1B565}" type="pres">
      <dgm:prSet presAssocID="{E0E65301-BE87-4144-9B73-8FFBB1D948D9}" presName="node" presStyleLbl="node1" presStyleIdx="0" presStyleCnt="3" custLinFactNeighborX="-836" custLinFactNeighborY="987">
        <dgm:presLayoutVars>
          <dgm:bulletEnabled val="1"/>
        </dgm:presLayoutVars>
      </dgm:prSet>
      <dgm:spPr>
        <a:prstGeom prst="cube">
          <a:avLst/>
        </a:prstGeom>
      </dgm:spPr>
    </dgm:pt>
    <dgm:pt modelId="{BFDE7423-4F8B-4AD8-81E4-4815DBF21C0E}" type="pres">
      <dgm:prSet presAssocID="{71D21414-8F85-47EA-B661-15E0697ACDE9}" presName="sibTrans" presStyleLbl="sibTrans2D1" presStyleIdx="0" presStyleCnt="2"/>
      <dgm:spPr/>
    </dgm:pt>
    <dgm:pt modelId="{0B492E45-0EB5-4EF9-8591-52FEC80C2F9D}" type="pres">
      <dgm:prSet presAssocID="{71D21414-8F85-47EA-B661-15E0697ACDE9}" presName="connectorText" presStyleLbl="sibTrans2D1" presStyleIdx="0" presStyleCnt="2"/>
      <dgm:spPr/>
    </dgm:pt>
    <dgm:pt modelId="{184231DB-3D68-4347-BB21-09287CF78C19}" type="pres">
      <dgm:prSet presAssocID="{52EC111F-CE90-4CA0-A8EE-D56E708C4936}" presName="node" presStyleLbl="node1" presStyleIdx="1" presStyleCnt="3">
        <dgm:presLayoutVars>
          <dgm:bulletEnabled val="1"/>
        </dgm:presLayoutVars>
      </dgm:prSet>
      <dgm:spPr>
        <a:prstGeom prst="cube">
          <a:avLst/>
        </a:prstGeom>
      </dgm:spPr>
    </dgm:pt>
    <dgm:pt modelId="{CCEBBCD2-A8B3-4AEF-BDC9-04A42B656296}" type="pres">
      <dgm:prSet presAssocID="{C30DC886-806E-4C70-996A-1D701B0255F2}" presName="sibTrans" presStyleLbl="sibTrans2D1" presStyleIdx="1" presStyleCnt="2"/>
      <dgm:spPr/>
    </dgm:pt>
    <dgm:pt modelId="{CF37EBBF-625C-46B9-B8E0-CD9D40BEFB82}" type="pres">
      <dgm:prSet presAssocID="{C30DC886-806E-4C70-996A-1D701B0255F2}" presName="connectorText" presStyleLbl="sibTrans2D1" presStyleIdx="1" presStyleCnt="2"/>
      <dgm:spPr/>
    </dgm:pt>
    <dgm:pt modelId="{4586E065-3F94-4B80-A22A-CBAB27F3A73D}" type="pres">
      <dgm:prSet presAssocID="{147A0A7E-43FD-4919-BED9-FD130E8F846F}" presName="node" presStyleLbl="node1" presStyleIdx="2" presStyleCnt="3">
        <dgm:presLayoutVars>
          <dgm:bulletEnabled val="1"/>
        </dgm:presLayoutVars>
      </dgm:prSet>
      <dgm:spPr>
        <a:prstGeom prst="cube">
          <a:avLst/>
        </a:prstGeom>
      </dgm:spPr>
    </dgm:pt>
  </dgm:ptLst>
  <dgm:cxnLst>
    <dgm:cxn modelId="{0099A90C-AEA9-449D-B2A3-4E0786BA3464}" srcId="{D34B0644-E3E1-4E03-AE17-11C74B90AAEA}" destId="{52EC111F-CE90-4CA0-A8EE-D56E708C4936}" srcOrd="1" destOrd="0" parTransId="{B4CC8DE3-EAA1-4623-9660-3A47905EB7F5}" sibTransId="{C30DC886-806E-4C70-996A-1D701B0255F2}"/>
    <dgm:cxn modelId="{5898DF3F-26D6-4E19-8C75-A0260579301B}" srcId="{D34B0644-E3E1-4E03-AE17-11C74B90AAEA}" destId="{E0E65301-BE87-4144-9B73-8FFBB1D948D9}" srcOrd="0" destOrd="0" parTransId="{4A35EE3F-BC89-4E64-9A39-86F2FA8CE0D2}" sibTransId="{71D21414-8F85-47EA-B661-15E0697ACDE9}"/>
    <dgm:cxn modelId="{966B7677-B18E-479F-988E-BA28121F0467}" type="presOf" srcId="{D34B0644-E3E1-4E03-AE17-11C74B90AAEA}" destId="{D3E00C65-B9E1-4692-BA24-8859066709BD}" srcOrd="0" destOrd="0" presId="urn:microsoft.com/office/officeart/2005/8/layout/process1"/>
    <dgm:cxn modelId="{04B6BD97-6855-4ECA-B7AD-641773795247}" type="presOf" srcId="{71D21414-8F85-47EA-B661-15E0697ACDE9}" destId="{BFDE7423-4F8B-4AD8-81E4-4815DBF21C0E}" srcOrd="0" destOrd="0" presId="urn:microsoft.com/office/officeart/2005/8/layout/process1"/>
    <dgm:cxn modelId="{841A5F9D-8122-45CA-8CDF-0108D999B86C}" type="presOf" srcId="{147A0A7E-43FD-4919-BED9-FD130E8F846F}" destId="{4586E065-3F94-4B80-A22A-CBAB27F3A73D}" srcOrd="0" destOrd="0" presId="urn:microsoft.com/office/officeart/2005/8/layout/process1"/>
    <dgm:cxn modelId="{EC5132A7-9E43-406A-AB79-A456BF85DAF3}" srcId="{D34B0644-E3E1-4E03-AE17-11C74B90AAEA}" destId="{147A0A7E-43FD-4919-BED9-FD130E8F846F}" srcOrd="2" destOrd="0" parTransId="{2075EA3C-82E1-4316-98AC-6308FC7C0BC9}" sibTransId="{6C2AB92C-3180-434F-AD15-32B07463CEAD}"/>
    <dgm:cxn modelId="{3DD520B9-8E1A-4B3C-9B25-CB2DCFFB34FD}" type="presOf" srcId="{52EC111F-CE90-4CA0-A8EE-D56E708C4936}" destId="{184231DB-3D68-4347-BB21-09287CF78C19}" srcOrd="0" destOrd="0" presId="urn:microsoft.com/office/officeart/2005/8/layout/process1"/>
    <dgm:cxn modelId="{7A1D37C8-08EB-4C6F-A2DE-397362C6DDC8}" type="presOf" srcId="{C30DC886-806E-4C70-996A-1D701B0255F2}" destId="{CCEBBCD2-A8B3-4AEF-BDC9-04A42B656296}" srcOrd="0" destOrd="0" presId="urn:microsoft.com/office/officeart/2005/8/layout/process1"/>
    <dgm:cxn modelId="{E4EBD3C8-E8F1-46EA-BC9F-1342BCEFD443}" type="presOf" srcId="{E0E65301-BE87-4144-9B73-8FFBB1D948D9}" destId="{43ABED94-81BE-419C-B985-CB91ADB1B565}" srcOrd="0" destOrd="0" presId="urn:microsoft.com/office/officeart/2005/8/layout/process1"/>
    <dgm:cxn modelId="{6BE9DFF5-C323-4074-95B9-2B011A391920}" type="presOf" srcId="{C30DC886-806E-4C70-996A-1D701B0255F2}" destId="{CF37EBBF-625C-46B9-B8E0-CD9D40BEFB82}" srcOrd="1" destOrd="0" presId="urn:microsoft.com/office/officeart/2005/8/layout/process1"/>
    <dgm:cxn modelId="{A699C1F9-0E41-43FC-ACD9-C2722FDBDBE1}" type="presOf" srcId="{71D21414-8F85-47EA-B661-15E0697ACDE9}" destId="{0B492E45-0EB5-4EF9-8591-52FEC80C2F9D}" srcOrd="1" destOrd="0" presId="urn:microsoft.com/office/officeart/2005/8/layout/process1"/>
    <dgm:cxn modelId="{69D8C19A-C151-407B-9831-A88F0CD4F982}" type="presParOf" srcId="{D3E00C65-B9E1-4692-BA24-8859066709BD}" destId="{43ABED94-81BE-419C-B985-CB91ADB1B565}" srcOrd="0" destOrd="0" presId="urn:microsoft.com/office/officeart/2005/8/layout/process1"/>
    <dgm:cxn modelId="{C4B2A355-74FC-4930-9311-B8951069D8EC}" type="presParOf" srcId="{D3E00C65-B9E1-4692-BA24-8859066709BD}" destId="{BFDE7423-4F8B-4AD8-81E4-4815DBF21C0E}" srcOrd="1" destOrd="0" presId="urn:microsoft.com/office/officeart/2005/8/layout/process1"/>
    <dgm:cxn modelId="{BCF88F8B-3FFB-4272-B01E-38259C37D02F}" type="presParOf" srcId="{BFDE7423-4F8B-4AD8-81E4-4815DBF21C0E}" destId="{0B492E45-0EB5-4EF9-8591-52FEC80C2F9D}" srcOrd="0" destOrd="0" presId="urn:microsoft.com/office/officeart/2005/8/layout/process1"/>
    <dgm:cxn modelId="{39AE25EF-BB92-4703-9A84-88BFFA6A9FF0}" type="presParOf" srcId="{D3E00C65-B9E1-4692-BA24-8859066709BD}" destId="{184231DB-3D68-4347-BB21-09287CF78C19}" srcOrd="2" destOrd="0" presId="urn:microsoft.com/office/officeart/2005/8/layout/process1"/>
    <dgm:cxn modelId="{47C2A726-5396-4939-9AB5-338C61352F74}" type="presParOf" srcId="{D3E00C65-B9E1-4692-BA24-8859066709BD}" destId="{CCEBBCD2-A8B3-4AEF-BDC9-04A42B656296}" srcOrd="3" destOrd="0" presId="urn:microsoft.com/office/officeart/2005/8/layout/process1"/>
    <dgm:cxn modelId="{E9E8A65B-E5D0-42DC-B34E-08BD7747A807}" type="presParOf" srcId="{CCEBBCD2-A8B3-4AEF-BDC9-04A42B656296}" destId="{CF37EBBF-625C-46B9-B8E0-CD9D40BEFB82}" srcOrd="0" destOrd="0" presId="urn:microsoft.com/office/officeart/2005/8/layout/process1"/>
    <dgm:cxn modelId="{6369DB23-6EFA-429A-8A82-926B28765F1F}" type="presParOf" srcId="{D3E00C65-B9E1-4692-BA24-8859066709BD}" destId="{4586E065-3F94-4B80-A22A-CBAB27F3A73D}" srcOrd="4" destOrd="0" presId="urn:microsoft.com/office/officeart/2005/8/layout/process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894268-4237-449E-A60C-C5E7541273AE}">
      <dsp:nvSpPr>
        <dsp:cNvPr id="0" name=""/>
        <dsp:cNvSpPr/>
      </dsp:nvSpPr>
      <dsp:spPr>
        <a:xfrm>
          <a:off x="115141" y="0"/>
          <a:ext cx="1304941" cy="1597745"/>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B5D1DE-F4E4-45FD-84E9-0CD865ED0316}">
      <dsp:nvSpPr>
        <dsp:cNvPr id="0" name=""/>
        <dsp:cNvSpPr/>
      </dsp:nvSpPr>
      <dsp:spPr>
        <a:xfrm>
          <a:off x="40479" y="479323"/>
          <a:ext cx="460567" cy="6390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1</a:t>
          </a:r>
        </a:p>
      </dsp:txBody>
      <dsp:txXfrm>
        <a:off x="62962" y="501806"/>
        <a:ext cx="415601" cy="594132"/>
      </dsp:txXfrm>
    </dsp:sp>
    <dsp:sp modelId="{0CDFE726-68D2-400E-9033-0C80DD49797A}">
      <dsp:nvSpPr>
        <dsp:cNvPr id="0" name=""/>
        <dsp:cNvSpPr/>
      </dsp:nvSpPr>
      <dsp:spPr>
        <a:xfrm>
          <a:off x="537328" y="479323"/>
          <a:ext cx="460567" cy="6390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2</a:t>
          </a:r>
        </a:p>
      </dsp:txBody>
      <dsp:txXfrm>
        <a:off x="559811" y="501806"/>
        <a:ext cx="415601" cy="594132"/>
      </dsp:txXfrm>
    </dsp:sp>
    <dsp:sp modelId="{C6A83ED0-CD6F-4AEF-BC65-7CFE893C33F5}">
      <dsp:nvSpPr>
        <dsp:cNvPr id="0" name=""/>
        <dsp:cNvSpPr/>
      </dsp:nvSpPr>
      <dsp:spPr>
        <a:xfrm>
          <a:off x="1034177" y="479323"/>
          <a:ext cx="460567" cy="63909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3</a:t>
          </a:r>
        </a:p>
      </dsp:txBody>
      <dsp:txXfrm>
        <a:off x="1056660" y="501806"/>
        <a:ext cx="415601" cy="5941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ABED94-81BE-419C-B985-CB91ADB1B565}">
      <dsp:nvSpPr>
        <dsp:cNvPr id="0" name=""/>
        <dsp:cNvSpPr/>
      </dsp:nvSpPr>
      <dsp:spPr>
        <a:xfrm>
          <a:off x="2678" y="639613"/>
          <a:ext cx="1171277" cy="702766"/>
        </a:xfrm>
        <a:prstGeom prst="cub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Processed</a:t>
          </a:r>
        </a:p>
      </dsp:txBody>
      <dsp:txXfrm>
        <a:off x="2678" y="815305"/>
        <a:ext cx="995586" cy="527074"/>
      </dsp:txXfrm>
    </dsp:sp>
    <dsp:sp modelId="{BFDE7423-4F8B-4AD8-81E4-4815DBF21C0E}">
      <dsp:nvSpPr>
        <dsp:cNvPr id="0" name=""/>
        <dsp:cNvSpPr/>
      </dsp:nvSpPr>
      <dsp:spPr>
        <a:xfrm>
          <a:off x="1291083" y="845758"/>
          <a:ext cx="248310" cy="29047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1291083" y="903853"/>
        <a:ext cx="173817" cy="174286"/>
      </dsp:txXfrm>
    </dsp:sp>
    <dsp:sp modelId="{184231DB-3D68-4347-BB21-09287CF78C19}">
      <dsp:nvSpPr>
        <dsp:cNvPr id="0" name=""/>
        <dsp:cNvSpPr/>
      </dsp:nvSpPr>
      <dsp:spPr>
        <a:xfrm>
          <a:off x="1642467" y="639613"/>
          <a:ext cx="1171277" cy="702766"/>
        </a:xfrm>
        <a:prstGeom prst="cub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ssessment Completed</a:t>
          </a:r>
        </a:p>
      </dsp:txBody>
      <dsp:txXfrm>
        <a:off x="1642467" y="815305"/>
        <a:ext cx="995586" cy="527074"/>
      </dsp:txXfrm>
    </dsp:sp>
    <dsp:sp modelId="{CCEBBCD2-A8B3-4AEF-BDC9-04A42B656296}">
      <dsp:nvSpPr>
        <dsp:cNvPr id="0" name=""/>
        <dsp:cNvSpPr/>
      </dsp:nvSpPr>
      <dsp:spPr>
        <a:xfrm>
          <a:off x="2930872" y="845758"/>
          <a:ext cx="248310" cy="29047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930872" y="903853"/>
        <a:ext cx="173817" cy="174286"/>
      </dsp:txXfrm>
    </dsp:sp>
    <dsp:sp modelId="{CD922DBD-06DD-4FDD-A865-86062E7D2EDA}">
      <dsp:nvSpPr>
        <dsp:cNvPr id="0" name=""/>
        <dsp:cNvSpPr/>
      </dsp:nvSpPr>
      <dsp:spPr>
        <a:xfrm>
          <a:off x="3282255" y="639613"/>
          <a:ext cx="1171277" cy="702766"/>
        </a:xfrm>
        <a:prstGeom prst="cub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Evaluation Complete</a:t>
          </a:r>
        </a:p>
      </dsp:txBody>
      <dsp:txXfrm>
        <a:off x="3282255" y="815305"/>
        <a:ext cx="995586" cy="527074"/>
      </dsp:txXfrm>
    </dsp:sp>
    <dsp:sp modelId="{B3AA4B68-13AE-4EEE-B524-9B60E01B9EE7}">
      <dsp:nvSpPr>
        <dsp:cNvPr id="0" name=""/>
        <dsp:cNvSpPr/>
      </dsp:nvSpPr>
      <dsp:spPr>
        <a:xfrm>
          <a:off x="4570660" y="845758"/>
          <a:ext cx="248310" cy="29047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570660" y="903853"/>
        <a:ext cx="173817" cy="174286"/>
      </dsp:txXfrm>
    </dsp:sp>
    <dsp:sp modelId="{4586E065-3F94-4B80-A22A-CBAB27F3A73D}">
      <dsp:nvSpPr>
        <dsp:cNvPr id="0" name=""/>
        <dsp:cNvSpPr/>
      </dsp:nvSpPr>
      <dsp:spPr>
        <a:xfrm>
          <a:off x="4922043" y="639613"/>
          <a:ext cx="1171277" cy="702766"/>
        </a:xfrm>
        <a:prstGeom prst="cub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Training Complete</a:t>
          </a:r>
        </a:p>
      </dsp:txBody>
      <dsp:txXfrm>
        <a:off x="4922043" y="815305"/>
        <a:ext cx="995586" cy="5270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ABED94-81BE-419C-B985-CB91ADB1B565}">
      <dsp:nvSpPr>
        <dsp:cNvPr id="0" name=""/>
        <dsp:cNvSpPr/>
      </dsp:nvSpPr>
      <dsp:spPr>
        <a:xfrm>
          <a:off x="2177" y="0"/>
          <a:ext cx="1169439" cy="1174040"/>
        </a:xfrm>
        <a:prstGeom prst="cub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Application Processed</a:t>
          </a:r>
        </a:p>
      </dsp:txBody>
      <dsp:txXfrm>
        <a:off x="2177" y="292360"/>
        <a:ext cx="877079" cy="881680"/>
      </dsp:txXfrm>
    </dsp:sp>
    <dsp:sp modelId="{BFDE7423-4F8B-4AD8-81E4-4815DBF21C0E}">
      <dsp:nvSpPr>
        <dsp:cNvPr id="0" name=""/>
        <dsp:cNvSpPr/>
      </dsp:nvSpPr>
      <dsp:spPr>
        <a:xfrm>
          <a:off x="1289538" y="442009"/>
          <a:ext cx="249993" cy="290020"/>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1289538" y="500013"/>
        <a:ext cx="174995" cy="174012"/>
      </dsp:txXfrm>
    </dsp:sp>
    <dsp:sp modelId="{184231DB-3D68-4347-BB21-09287CF78C19}">
      <dsp:nvSpPr>
        <dsp:cNvPr id="0" name=""/>
        <dsp:cNvSpPr/>
      </dsp:nvSpPr>
      <dsp:spPr>
        <a:xfrm>
          <a:off x="1643303" y="0"/>
          <a:ext cx="1169439" cy="1174040"/>
        </a:xfrm>
        <a:prstGeom prst="cub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ssessment Completed</a:t>
          </a:r>
        </a:p>
      </dsp:txBody>
      <dsp:txXfrm>
        <a:off x="1643303" y="292360"/>
        <a:ext cx="877079" cy="881680"/>
      </dsp:txXfrm>
    </dsp:sp>
    <dsp:sp modelId="{CCEBBCD2-A8B3-4AEF-BDC9-04A42B656296}">
      <dsp:nvSpPr>
        <dsp:cNvPr id="0" name=""/>
        <dsp:cNvSpPr/>
      </dsp:nvSpPr>
      <dsp:spPr>
        <a:xfrm>
          <a:off x="2929687" y="442009"/>
          <a:ext cx="247921" cy="290020"/>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2929687" y="500013"/>
        <a:ext cx="173545" cy="174012"/>
      </dsp:txXfrm>
    </dsp:sp>
    <dsp:sp modelId="{4586E065-3F94-4B80-A22A-CBAB27F3A73D}">
      <dsp:nvSpPr>
        <dsp:cNvPr id="0" name=""/>
        <dsp:cNvSpPr/>
      </dsp:nvSpPr>
      <dsp:spPr>
        <a:xfrm>
          <a:off x="3280519" y="0"/>
          <a:ext cx="1169439" cy="1174040"/>
        </a:xfrm>
        <a:prstGeom prst="cube">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raining Complete</a:t>
          </a:r>
          <a:br>
            <a:rPr lang="en-US" sz="1400" kern="1200" dirty="0"/>
          </a:br>
          <a:r>
            <a:rPr lang="en-US" sz="1400" kern="1200" dirty="0"/>
            <a:t>[27 / 50]</a:t>
          </a:r>
        </a:p>
      </dsp:txBody>
      <dsp:txXfrm>
        <a:off x="3280519" y="292360"/>
        <a:ext cx="877079" cy="88168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7762" name="Rectangle 2">
            <a:extLst>
              <a:ext uri="{FF2B5EF4-FFF2-40B4-BE49-F238E27FC236}">
                <a16:creationId xmlns:a16="http://schemas.microsoft.com/office/drawing/2014/main" id="{29EF72D9-DF98-4506-AEE6-F4A30A5A2DF0}"/>
              </a:ext>
            </a:extLst>
          </p:cNvPr>
          <p:cNvSpPr>
            <a:spLocks noGrp="1" noChangeArrowheads="1"/>
          </p:cNvSpPr>
          <p:nvPr>
            <p:ph type="hdr" sz="quarter"/>
          </p:nvPr>
        </p:nvSpPr>
        <p:spPr bwMode="auto">
          <a:xfrm>
            <a:off x="0" y="0"/>
            <a:ext cx="3078163" cy="469900"/>
          </a:xfrm>
          <a:prstGeom prst="rect">
            <a:avLst/>
          </a:prstGeom>
          <a:noFill/>
          <a:ln w="9525">
            <a:noFill/>
            <a:miter lim="800000"/>
            <a:headEnd/>
            <a:tailEnd/>
          </a:ln>
          <a:effectLst/>
        </p:spPr>
        <p:txBody>
          <a:bodyPr vert="horz" wrap="square" lIns="94223" tIns="47112" rIns="94223" bIns="47112" numCol="1" anchor="t" anchorCtr="0" compatLnSpc="1">
            <a:prstTxWarp prst="textNoShape">
              <a:avLst/>
            </a:prstTxWarp>
          </a:bodyPr>
          <a:lstStyle>
            <a:lvl1pPr defTabSz="942845" eaLnBrk="0" hangingPunct="0">
              <a:defRPr sz="1200">
                <a:latin typeface="Arial" charset="0"/>
                <a:ea typeface="ＭＳ Ｐゴシック" pitchFamily="1" charset="-128"/>
                <a:cs typeface="+mn-cs"/>
              </a:defRPr>
            </a:lvl1pPr>
          </a:lstStyle>
          <a:p>
            <a:pPr>
              <a:defRPr/>
            </a:pPr>
            <a:endParaRPr lang="en-US"/>
          </a:p>
        </p:txBody>
      </p:sp>
      <p:sp>
        <p:nvSpPr>
          <p:cNvPr id="117763" name="Rectangle 3">
            <a:extLst>
              <a:ext uri="{FF2B5EF4-FFF2-40B4-BE49-F238E27FC236}">
                <a16:creationId xmlns:a16="http://schemas.microsoft.com/office/drawing/2014/main" id="{DEDF2839-66E4-4191-B0B9-CEC84E284864}"/>
              </a:ext>
            </a:extLst>
          </p:cNvPr>
          <p:cNvSpPr>
            <a:spLocks noGrp="1" noChangeArrowheads="1"/>
          </p:cNvSpPr>
          <p:nvPr>
            <p:ph type="dt" sz="quarter" idx="1"/>
          </p:nvPr>
        </p:nvSpPr>
        <p:spPr bwMode="auto">
          <a:xfrm>
            <a:off x="4022725" y="0"/>
            <a:ext cx="3078163" cy="469900"/>
          </a:xfrm>
          <a:prstGeom prst="rect">
            <a:avLst/>
          </a:prstGeom>
          <a:noFill/>
          <a:ln w="9525">
            <a:noFill/>
            <a:miter lim="800000"/>
            <a:headEnd/>
            <a:tailEnd/>
          </a:ln>
          <a:effectLst/>
        </p:spPr>
        <p:txBody>
          <a:bodyPr vert="horz" wrap="square" lIns="94223" tIns="47112" rIns="94223" bIns="47112" numCol="1" anchor="t" anchorCtr="0" compatLnSpc="1">
            <a:prstTxWarp prst="textNoShape">
              <a:avLst/>
            </a:prstTxWarp>
          </a:bodyPr>
          <a:lstStyle>
            <a:lvl1pPr algn="r" defTabSz="942845" eaLnBrk="0" hangingPunct="0">
              <a:defRPr sz="1200">
                <a:latin typeface="Arial" charset="0"/>
                <a:ea typeface="ＭＳ Ｐゴシック" pitchFamily="1" charset="-128"/>
                <a:cs typeface="+mn-cs"/>
              </a:defRPr>
            </a:lvl1pPr>
          </a:lstStyle>
          <a:p>
            <a:pPr>
              <a:defRPr/>
            </a:pPr>
            <a:endParaRPr lang="en-US"/>
          </a:p>
        </p:txBody>
      </p:sp>
      <p:sp>
        <p:nvSpPr>
          <p:cNvPr id="117764" name="Rectangle 4">
            <a:extLst>
              <a:ext uri="{FF2B5EF4-FFF2-40B4-BE49-F238E27FC236}">
                <a16:creationId xmlns:a16="http://schemas.microsoft.com/office/drawing/2014/main" id="{F6AEDB16-403E-4029-B07E-E9058C3EF8EB}"/>
              </a:ext>
            </a:extLst>
          </p:cNvPr>
          <p:cNvSpPr>
            <a:spLocks noGrp="1" noChangeArrowheads="1"/>
          </p:cNvSpPr>
          <p:nvPr>
            <p:ph type="ftr" sz="quarter" idx="2"/>
          </p:nvPr>
        </p:nvSpPr>
        <p:spPr bwMode="auto">
          <a:xfrm>
            <a:off x="0" y="8916988"/>
            <a:ext cx="3078163" cy="469900"/>
          </a:xfrm>
          <a:prstGeom prst="rect">
            <a:avLst/>
          </a:prstGeom>
          <a:noFill/>
          <a:ln w="9525">
            <a:noFill/>
            <a:miter lim="800000"/>
            <a:headEnd/>
            <a:tailEnd/>
          </a:ln>
          <a:effectLst/>
        </p:spPr>
        <p:txBody>
          <a:bodyPr vert="horz" wrap="square" lIns="94223" tIns="47112" rIns="94223" bIns="47112" numCol="1" anchor="b" anchorCtr="0" compatLnSpc="1">
            <a:prstTxWarp prst="textNoShape">
              <a:avLst/>
            </a:prstTxWarp>
          </a:bodyPr>
          <a:lstStyle>
            <a:lvl1pPr defTabSz="942845" eaLnBrk="0" hangingPunct="0">
              <a:defRPr sz="1200">
                <a:latin typeface="Arial" charset="0"/>
                <a:ea typeface="ＭＳ Ｐゴシック" pitchFamily="1" charset="-128"/>
                <a:cs typeface="+mn-cs"/>
              </a:defRPr>
            </a:lvl1pPr>
          </a:lstStyle>
          <a:p>
            <a:pPr>
              <a:defRPr/>
            </a:pPr>
            <a:endParaRPr lang="en-US"/>
          </a:p>
        </p:txBody>
      </p:sp>
      <p:sp>
        <p:nvSpPr>
          <p:cNvPr id="117765" name="Rectangle 5">
            <a:extLst>
              <a:ext uri="{FF2B5EF4-FFF2-40B4-BE49-F238E27FC236}">
                <a16:creationId xmlns:a16="http://schemas.microsoft.com/office/drawing/2014/main" id="{95AB19BE-9604-4ED4-91D5-F05154EC0368}"/>
              </a:ext>
            </a:extLst>
          </p:cNvPr>
          <p:cNvSpPr>
            <a:spLocks noGrp="1" noChangeArrowheads="1"/>
          </p:cNvSpPr>
          <p:nvPr>
            <p:ph type="sldNum" sz="quarter" idx="3"/>
          </p:nvPr>
        </p:nvSpPr>
        <p:spPr bwMode="auto">
          <a:xfrm>
            <a:off x="4022725" y="8916988"/>
            <a:ext cx="3078163" cy="469900"/>
          </a:xfrm>
          <a:prstGeom prst="rect">
            <a:avLst/>
          </a:prstGeom>
          <a:noFill/>
          <a:ln w="9525">
            <a:noFill/>
            <a:miter lim="800000"/>
            <a:headEnd/>
            <a:tailEnd/>
          </a:ln>
          <a:effectLst/>
        </p:spPr>
        <p:txBody>
          <a:bodyPr vert="horz" wrap="square" lIns="94223" tIns="47112" rIns="94223" bIns="47112" numCol="1" anchor="b" anchorCtr="0" compatLnSpc="1">
            <a:prstTxWarp prst="textNoShape">
              <a:avLst/>
            </a:prstTxWarp>
          </a:bodyPr>
          <a:lstStyle>
            <a:lvl1pPr algn="r" defTabSz="941388" eaLnBrk="0" hangingPunct="0">
              <a:defRPr sz="1200"/>
            </a:lvl1pPr>
          </a:lstStyle>
          <a:p>
            <a:pPr>
              <a:defRPr/>
            </a:pPr>
            <a:fld id="{C1672B34-45FC-4D7E-891B-073F4118003C}"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a:extLst>
              <a:ext uri="{FF2B5EF4-FFF2-40B4-BE49-F238E27FC236}">
                <a16:creationId xmlns:a16="http://schemas.microsoft.com/office/drawing/2014/main" id="{D7FB2D20-5195-453E-9BA4-277849D43BCE}"/>
              </a:ext>
            </a:extLst>
          </p:cNvPr>
          <p:cNvSpPr>
            <a:spLocks noGrp="1" noChangeArrowheads="1"/>
          </p:cNvSpPr>
          <p:nvPr>
            <p:ph type="hdr" sz="quarter"/>
          </p:nvPr>
        </p:nvSpPr>
        <p:spPr bwMode="auto">
          <a:xfrm>
            <a:off x="0" y="0"/>
            <a:ext cx="3078163" cy="469900"/>
          </a:xfrm>
          <a:prstGeom prst="rect">
            <a:avLst/>
          </a:prstGeom>
          <a:noFill/>
          <a:ln w="9525">
            <a:noFill/>
            <a:miter lim="800000"/>
            <a:headEnd/>
            <a:tailEnd/>
          </a:ln>
        </p:spPr>
        <p:txBody>
          <a:bodyPr vert="horz" wrap="square" lIns="94223" tIns="47112" rIns="94223" bIns="47112" numCol="1" anchor="t" anchorCtr="0" compatLnSpc="1">
            <a:prstTxWarp prst="textNoShape">
              <a:avLst/>
            </a:prstTxWarp>
          </a:bodyPr>
          <a:lstStyle>
            <a:lvl1pPr defTabSz="942845" eaLnBrk="0" hangingPunct="0">
              <a:defRPr sz="1200">
                <a:latin typeface="Arial" charset="0"/>
                <a:ea typeface="ＭＳ Ｐゴシック" pitchFamily="1" charset="-128"/>
                <a:cs typeface="+mn-cs"/>
              </a:defRPr>
            </a:lvl1pPr>
          </a:lstStyle>
          <a:p>
            <a:pPr>
              <a:defRPr/>
            </a:pPr>
            <a:endParaRPr lang="en-US"/>
          </a:p>
        </p:txBody>
      </p:sp>
      <p:sp>
        <p:nvSpPr>
          <p:cNvPr id="3075" name="Rectangle 3">
            <a:extLst>
              <a:ext uri="{FF2B5EF4-FFF2-40B4-BE49-F238E27FC236}">
                <a16:creationId xmlns:a16="http://schemas.microsoft.com/office/drawing/2014/main" id="{D1D29739-8FB1-467F-B014-B4665269C12F}"/>
              </a:ext>
            </a:extLst>
          </p:cNvPr>
          <p:cNvSpPr>
            <a:spLocks noGrp="1" noChangeArrowheads="1"/>
          </p:cNvSpPr>
          <p:nvPr>
            <p:ph type="dt" idx="1"/>
          </p:nvPr>
        </p:nvSpPr>
        <p:spPr bwMode="auto">
          <a:xfrm>
            <a:off x="4024313" y="0"/>
            <a:ext cx="3078162" cy="469900"/>
          </a:xfrm>
          <a:prstGeom prst="rect">
            <a:avLst/>
          </a:prstGeom>
          <a:noFill/>
          <a:ln w="9525">
            <a:noFill/>
            <a:miter lim="800000"/>
            <a:headEnd/>
            <a:tailEnd/>
          </a:ln>
        </p:spPr>
        <p:txBody>
          <a:bodyPr vert="horz" wrap="square" lIns="94223" tIns="47112" rIns="94223" bIns="47112" numCol="1" anchor="t" anchorCtr="0" compatLnSpc="1">
            <a:prstTxWarp prst="textNoShape">
              <a:avLst/>
            </a:prstTxWarp>
          </a:bodyPr>
          <a:lstStyle>
            <a:lvl1pPr algn="r" defTabSz="942845" eaLnBrk="0" hangingPunct="0">
              <a:defRPr sz="1200">
                <a:latin typeface="Arial" charset="0"/>
                <a:ea typeface="ＭＳ Ｐゴシック" pitchFamily="1" charset="-128"/>
                <a:cs typeface="+mn-cs"/>
              </a:defRPr>
            </a:lvl1pPr>
          </a:lstStyle>
          <a:p>
            <a:pPr>
              <a:defRPr/>
            </a:pPr>
            <a:endParaRPr lang="en-US"/>
          </a:p>
        </p:txBody>
      </p:sp>
      <p:sp>
        <p:nvSpPr>
          <p:cNvPr id="32772" name="Rectangle 4">
            <a:extLst>
              <a:ext uri="{FF2B5EF4-FFF2-40B4-BE49-F238E27FC236}">
                <a16:creationId xmlns:a16="http://schemas.microsoft.com/office/drawing/2014/main" id="{B2493843-2C12-4768-99B3-8BFA5EF1A6C3}"/>
              </a:ext>
            </a:extLst>
          </p:cNvPr>
          <p:cNvSpPr>
            <a:spLocks noGrp="1" noRot="1" noChangeAspect="1" noChangeArrowheads="1" noTextEdit="1"/>
          </p:cNvSpPr>
          <p:nvPr>
            <p:ph type="sldImg" idx="2"/>
          </p:nvPr>
        </p:nvSpPr>
        <p:spPr bwMode="auto">
          <a:xfrm>
            <a:off x="1204913" y="703263"/>
            <a:ext cx="4692650" cy="35210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7" name="Rectangle 5">
            <a:extLst>
              <a:ext uri="{FF2B5EF4-FFF2-40B4-BE49-F238E27FC236}">
                <a16:creationId xmlns:a16="http://schemas.microsoft.com/office/drawing/2014/main" id="{BC5A40E7-1E2B-42A4-B0BC-E2390DB2E887}"/>
              </a:ext>
            </a:extLst>
          </p:cNvPr>
          <p:cNvSpPr>
            <a:spLocks noGrp="1" noChangeArrowheads="1"/>
          </p:cNvSpPr>
          <p:nvPr>
            <p:ph type="body" sz="quarter" idx="3"/>
          </p:nvPr>
        </p:nvSpPr>
        <p:spPr bwMode="auto">
          <a:xfrm>
            <a:off x="947738" y="4459288"/>
            <a:ext cx="5207000" cy="4225925"/>
          </a:xfrm>
          <a:prstGeom prst="rect">
            <a:avLst/>
          </a:prstGeom>
          <a:noFill/>
          <a:ln w="9525">
            <a:noFill/>
            <a:miter lim="800000"/>
            <a:headEnd/>
            <a:tailEnd/>
          </a:ln>
        </p:spPr>
        <p:txBody>
          <a:bodyPr vert="horz" wrap="square" lIns="94223" tIns="47112" rIns="94223" bIns="4711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78" name="Rectangle 6">
            <a:extLst>
              <a:ext uri="{FF2B5EF4-FFF2-40B4-BE49-F238E27FC236}">
                <a16:creationId xmlns:a16="http://schemas.microsoft.com/office/drawing/2014/main" id="{3FB6B8B5-6A53-4575-9AB2-C06DB3FFC45B}"/>
              </a:ext>
            </a:extLst>
          </p:cNvPr>
          <p:cNvSpPr>
            <a:spLocks noGrp="1" noChangeArrowheads="1"/>
          </p:cNvSpPr>
          <p:nvPr>
            <p:ph type="ftr" sz="quarter" idx="4"/>
          </p:nvPr>
        </p:nvSpPr>
        <p:spPr bwMode="auto">
          <a:xfrm>
            <a:off x="0" y="8918575"/>
            <a:ext cx="3078163" cy="469900"/>
          </a:xfrm>
          <a:prstGeom prst="rect">
            <a:avLst/>
          </a:prstGeom>
          <a:noFill/>
          <a:ln w="9525">
            <a:noFill/>
            <a:miter lim="800000"/>
            <a:headEnd/>
            <a:tailEnd/>
          </a:ln>
        </p:spPr>
        <p:txBody>
          <a:bodyPr vert="horz" wrap="square" lIns="94223" tIns="47112" rIns="94223" bIns="47112" numCol="1" anchor="b" anchorCtr="0" compatLnSpc="1">
            <a:prstTxWarp prst="textNoShape">
              <a:avLst/>
            </a:prstTxWarp>
          </a:bodyPr>
          <a:lstStyle>
            <a:lvl1pPr defTabSz="942845" eaLnBrk="0" hangingPunct="0">
              <a:defRPr sz="1200">
                <a:latin typeface="Arial" charset="0"/>
                <a:ea typeface="ＭＳ Ｐゴシック" pitchFamily="1" charset="-128"/>
                <a:cs typeface="+mn-cs"/>
              </a:defRPr>
            </a:lvl1pPr>
          </a:lstStyle>
          <a:p>
            <a:pPr>
              <a:defRPr/>
            </a:pPr>
            <a:endParaRPr lang="en-US"/>
          </a:p>
        </p:txBody>
      </p:sp>
      <p:sp>
        <p:nvSpPr>
          <p:cNvPr id="3079" name="Rectangle 7">
            <a:extLst>
              <a:ext uri="{FF2B5EF4-FFF2-40B4-BE49-F238E27FC236}">
                <a16:creationId xmlns:a16="http://schemas.microsoft.com/office/drawing/2014/main" id="{E173ADB6-48D7-4A6E-A7CF-3D1610CA70A5}"/>
              </a:ext>
            </a:extLst>
          </p:cNvPr>
          <p:cNvSpPr>
            <a:spLocks noGrp="1" noChangeArrowheads="1"/>
          </p:cNvSpPr>
          <p:nvPr>
            <p:ph type="sldNum" sz="quarter" idx="5"/>
          </p:nvPr>
        </p:nvSpPr>
        <p:spPr bwMode="auto">
          <a:xfrm>
            <a:off x="4024313" y="8918575"/>
            <a:ext cx="3078162" cy="469900"/>
          </a:xfrm>
          <a:prstGeom prst="rect">
            <a:avLst/>
          </a:prstGeom>
          <a:noFill/>
          <a:ln w="9525">
            <a:noFill/>
            <a:miter lim="800000"/>
            <a:headEnd/>
            <a:tailEnd/>
          </a:ln>
        </p:spPr>
        <p:txBody>
          <a:bodyPr vert="horz" wrap="square" lIns="94223" tIns="47112" rIns="94223" bIns="47112" numCol="1" anchor="b" anchorCtr="0" compatLnSpc="1">
            <a:prstTxWarp prst="textNoShape">
              <a:avLst/>
            </a:prstTxWarp>
          </a:bodyPr>
          <a:lstStyle>
            <a:lvl1pPr algn="r" defTabSz="941388" eaLnBrk="0" hangingPunct="0">
              <a:defRPr sz="1200"/>
            </a:lvl1pPr>
          </a:lstStyle>
          <a:p>
            <a:pPr>
              <a:defRPr/>
            </a:pPr>
            <a:fld id="{44EAB8BE-9DCC-4D55-9EB2-E7316447B45E}"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CC86D6-FEBC-4232-9FCE-2A82B99F518B}" type="slidenum">
              <a:rPr lang="en-US" smtClean="0"/>
              <a:t>2</a:t>
            </a:fld>
            <a:endParaRPr lang="en-US"/>
          </a:p>
        </p:txBody>
      </p:sp>
    </p:spTree>
    <p:extLst>
      <p:ext uri="{BB962C8B-B14F-4D97-AF65-F5344CB8AC3E}">
        <p14:creationId xmlns:p14="http://schemas.microsoft.com/office/powerpoint/2010/main" val="30131242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2213" y="704850"/>
            <a:ext cx="4692650" cy="35194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0D78213-D397-4A04-81B2-FE43D821039E}" type="slidenum">
              <a:rPr lang="en-US" smtClean="0"/>
              <a:pPr>
                <a:defRPr/>
              </a:pPr>
              <a:t>38</a:t>
            </a:fld>
            <a:endParaRPr lang="en-US"/>
          </a:p>
        </p:txBody>
      </p:sp>
    </p:spTree>
    <p:extLst>
      <p:ext uri="{BB962C8B-B14F-4D97-AF65-F5344CB8AC3E}">
        <p14:creationId xmlns:p14="http://schemas.microsoft.com/office/powerpoint/2010/main" val="3392051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2688" y="698500"/>
            <a:ext cx="4645025" cy="34845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0D78213-D397-4A04-81B2-FE43D821039E}" type="slidenum">
              <a:rPr lang="en-US" smtClean="0">
                <a:solidFill>
                  <a:srgbClr val="000000"/>
                </a:solidFill>
              </a:rPr>
              <a:pPr>
                <a:defRPr/>
              </a:pPr>
              <a:t>39</a:t>
            </a:fld>
            <a:endParaRPr lang="en-US">
              <a:solidFill>
                <a:srgbClr val="000000"/>
              </a:solidFill>
            </a:endParaRPr>
          </a:p>
        </p:txBody>
      </p:sp>
    </p:spTree>
    <p:extLst>
      <p:ext uri="{BB962C8B-B14F-4D97-AF65-F5344CB8AC3E}">
        <p14:creationId xmlns:p14="http://schemas.microsoft.com/office/powerpoint/2010/main" val="1912198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127a80a6652_2_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1" name="Google Shape;201;g127a80a6652_2_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2" name="Google Shape;202;g127a80a6652_2_8: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42</a:t>
            </a:fld>
            <a:endParaRPr/>
          </a:p>
        </p:txBody>
      </p:sp>
    </p:spTree>
    <p:extLst>
      <p:ext uri="{BB962C8B-B14F-4D97-AF65-F5344CB8AC3E}">
        <p14:creationId xmlns:p14="http://schemas.microsoft.com/office/powerpoint/2010/main" val="23767301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a:t>So first and foremost, As you can see, there is a lot of data presented just for site based. But what exactly does this dashboard tell us?</a:t>
            </a:r>
          </a:p>
          <a:p>
            <a:endParaRPr lang="en-US" dirty="0"/>
          </a:p>
          <a:p>
            <a:r>
              <a:rPr lang="en-US" dirty="0"/>
              <a:t>Lets break it down </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CA" sz="1200" b="0" i="0" u="none" strike="noStrike" cap="none" smtClean="0">
                <a:solidFill>
                  <a:schemeClr val="dk1"/>
                </a:solidFill>
                <a:latin typeface="Calibri"/>
                <a:ea typeface="Calibri"/>
                <a:cs typeface="Calibri"/>
                <a:sym typeface="Calibri"/>
              </a:rPr>
              <a:t>43</a:t>
            </a:fld>
            <a:endParaRPr lang="en-CA"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343933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127a80a6652_2_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1" name="Google Shape;201;g127a80a6652_2_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2" name="Google Shape;202;g127a80a6652_2_8: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4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FC650DC5-0ADE-46C5-BA96-D113942F4D29}"/>
              </a:ext>
            </a:extLst>
          </p:cNvPr>
          <p:cNvSpPr>
            <a:spLocks noGrp="1" noRot="1" noChangeAspect="1" noTextEdit="1"/>
          </p:cNvSpPr>
          <p:nvPr>
            <p:ph type="sldImg"/>
          </p:nvPr>
        </p:nvSpPr>
        <p:spPr>
          <a:ln/>
        </p:spPr>
      </p:sp>
      <p:sp>
        <p:nvSpPr>
          <p:cNvPr id="138243" name="Notes Placeholder 2">
            <a:extLst>
              <a:ext uri="{FF2B5EF4-FFF2-40B4-BE49-F238E27FC236}">
                <a16:creationId xmlns:a16="http://schemas.microsoft.com/office/drawing/2014/main" id="{4B93F888-980E-4A99-9231-FF6B51401A09}"/>
              </a:ext>
            </a:extLst>
          </p:cNvPr>
          <p:cNvSpPr>
            <a:spLocks noGrp="1"/>
          </p:cNvSpPr>
          <p:nvPr>
            <p:ph type="body" idx="1"/>
          </p:nvPr>
        </p:nvSpPr>
        <p:spPr>
          <a:noFill/>
        </p:spPr>
        <p:txBody>
          <a:bodyPr/>
          <a:lstStyle/>
          <a:p>
            <a:endParaRPr lang="en-US" altLang="en-US"/>
          </a:p>
        </p:txBody>
      </p:sp>
      <p:sp>
        <p:nvSpPr>
          <p:cNvPr id="138244" name="Slide Number Placeholder 3">
            <a:extLst>
              <a:ext uri="{FF2B5EF4-FFF2-40B4-BE49-F238E27FC236}">
                <a16:creationId xmlns:a16="http://schemas.microsoft.com/office/drawing/2014/main" id="{A28108DB-2032-46AC-90EE-F2B3939E4544}"/>
              </a:ext>
            </a:extLst>
          </p:cNvPr>
          <p:cNvSpPr>
            <a:spLocks noGrp="1"/>
          </p:cNvSpPr>
          <p:nvPr>
            <p:ph type="sldNum" sz="quarter" idx="5"/>
          </p:nvPr>
        </p:nvSpPr>
        <p:spPr>
          <a:noFill/>
        </p:spPr>
        <p:txBody>
          <a:bodyPr/>
          <a:lstStyle>
            <a:lvl1pPr defTabSz="931863" eaLnBrk="0" hangingPunct="0">
              <a:spcBef>
                <a:spcPct val="30000"/>
              </a:spcBef>
              <a:defRPr sz="1200">
                <a:solidFill>
                  <a:schemeClr val="tx1"/>
                </a:solidFill>
                <a:latin typeface="Times New Roman" panose="02020603050405020304" pitchFamily="18" charset="0"/>
              </a:defRPr>
            </a:lvl1pPr>
            <a:lvl2pPr marL="742950" indent="-285750" defTabSz="931863" eaLnBrk="0" hangingPunct="0">
              <a:spcBef>
                <a:spcPct val="30000"/>
              </a:spcBef>
              <a:defRPr sz="1200">
                <a:solidFill>
                  <a:schemeClr val="tx1"/>
                </a:solidFill>
                <a:latin typeface="Times New Roman" panose="02020603050405020304" pitchFamily="18" charset="0"/>
              </a:defRPr>
            </a:lvl2pPr>
            <a:lvl3pPr marL="1143000" indent="-228600" defTabSz="931863" eaLnBrk="0" hangingPunct="0">
              <a:spcBef>
                <a:spcPct val="30000"/>
              </a:spcBef>
              <a:defRPr sz="1200">
                <a:solidFill>
                  <a:schemeClr val="tx1"/>
                </a:solidFill>
                <a:latin typeface="Times New Roman" panose="02020603050405020304" pitchFamily="18" charset="0"/>
              </a:defRPr>
            </a:lvl3pPr>
            <a:lvl4pPr marL="1600200" indent="-228600" defTabSz="931863" eaLnBrk="0" hangingPunct="0">
              <a:spcBef>
                <a:spcPct val="30000"/>
              </a:spcBef>
              <a:defRPr sz="1200">
                <a:solidFill>
                  <a:schemeClr val="tx1"/>
                </a:solidFill>
                <a:latin typeface="Times New Roman" panose="02020603050405020304" pitchFamily="18" charset="0"/>
              </a:defRPr>
            </a:lvl4pPr>
            <a:lvl5pPr marL="2057400" indent="-228600" defTabSz="931863" eaLnBrk="0" hangingPunct="0">
              <a:spcBef>
                <a:spcPct val="30000"/>
              </a:spcBef>
              <a:defRPr sz="1200">
                <a:solidFill>
                  <a:schemeClr val="tx1"/>
                </a:solidFill>
                <a:latin typeface="Times New Roman" panose="02020603050405020304" pitchFamily="18" charset="0"/>
              </a:defRPr>
            </a:lvl5pPr>
            <a:lvl6pPr marL="2514600" indent="-228600" defTabSz="9318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18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18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1863"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728653C1-FA62-4333-9589-300C3E3BC676}" type="slidenum">
              <a:rPr lang="en-US" altLang="en-US">
                <a:solidFill>
                  <a:srgbClr val="000000"/>
                </a:solidFill>
              </a:rPr>
              <a:pPr eaLnBrk="1" hangingPunct="1">
                <a:spcBef>
                  <a:spcPct val="0"/>
                </a:spcBef>
              </a:pPr>
              <a:t>45</a:t>
            </a:fld>
            <a:endParaRPr lang="en-US" altLang="en-US">
              <a:solidFill>
                <a:srgbClr val="000000"/>
              </a:solidFill>
            </a:endParaRPr>
          </a:p>
        </p:txBody>
      </p:sp>
    </p:spTree>
    <p:extLst>
      <p:ext uri="{BB962C8B-B14F-4D97-AF65-F5344CB8AC3E}">
        <p14:creationId xmlns:p14="http://schemas.microsoft.com/office/powerpoint/2010/main" val="19868742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2213" y="704850"/>
            <a:ext cx="4692650" cy="35194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0D78213-D397-4A04-81B2-FE43D821039E}" type="slidenum">
              <a:rPr lang="en-US" smtClean="0"/>
              <a:pPr>
                <a:defRPr/>
              </a:pPr>
              <a:t>47</a:t>
            </a:fld>
            <a:endParaRPr lang="en-US"/>
          </a:p>
        </p:txBody>
      </p:sp>
    </p:spTree>
    <p:extLst>
      <p:ext uri="{BB962C8B-B14F-4D97-AF65-F5344CB8AC3E}">
        <p14:creationId xmlns:p14="http://schemas.microsoft.com/office/powerpoint/2010/main" val="11977454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Slide Image Placeholder 1"/>
          <p:cNvSpPr>
            <a:spLocks noGrp="1" noRot="1" noChangeAspect="1" noTextEdit="1"/>
          </p:cNvSpPr>
          <p:nvPr>
            <p:ph type="sldImg"/>
          </p:nvPr>
        </p:nvSpPr>
        <p:spPr>
          <a:xfrm>
            <a:off x="1143000" y="685800"/>
            <a:ext cx="4572000" cy="3429000"/>
          </a:xfrm>
          <a:ln/>
        </p:spPr>
      </p:sp>
      <p:sp>
        <p:nvSpPr>
          <p:cNvPr id="2744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 name="Slide Number Placeholder 3"/>
          <p:cNvSpPr>
            <a:spLocks noGrp="1"/>
          </p:cNvSpPr>
          <p:nvPr>
            <p:ph type="sldNum" sz="quarter" idx="5"/>
          </p:nvPr>
        </p:nvSpPr>
        <p:spPr/>
        <p:txBody>
          <a:bodyPr/>
          <a:lstStyle/>
          <a:p>
            <a:pPr>
              <a:defRPr/>
            </a:pPr>
            <a:fld id="{34B19978-7469-4291-A9F9-0DD3B4B37FA4}" type="slidenum">
              <a:rPr lang="en-US" smtClean="0">
                <a:solidFill>
                  <a:prstClr val="black"/>
                </a:solidFill>
              </a:rPr>
              <a:pPr>
                <a:defRPr/>
              </a:pPr>
              <a:t>48</a:t>
            </a:fld>
            <a:endParaRPr lang="en-US">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gile, Sprints, OKR’s, leadership alignment, speed of trust …..</a:t>
            </a:r>
            <a:endParaRPr lang="en-CA" dirty="0"/>
          </a:p>
          <a:p>
            <a:r>
              <a:rPr lang="en-CA" dirty="0"/>
              <a:t>Explain OKR briefly and how it connects with what we are talking about </a:t>
            </a:r>
          </a:p>
        </p:txBody>
      </p:sp>
      <p:sp>
        <p:nvSpPr>
          <p:cNvPr id="4" name="Slide Number Placeholder 3"/>
          <p:cNvSpPr>
            <a:spLocks noGrp="1"/>
          </p:cNvSpPr>
          <p:nvPr>
            <p:ph type="sldNum" sz="quarter" idx="5"/>
          </p:nvPr>
        </p:nvSpPr>
        <p:spPr/>
        <p:txBody>
          <a:bodyPr/>
          <a:lstStyle/>
          <a:p>
            <a:fld id="{12116361-D9C7-45B7-B881-65DFE00A7BB3}" type="slidenum">
              <a:rPr lang="en-CA" smtClean="0"/>
              <a:t>49</a:t>
            </a:fld>
            <a:endParaRPr lang="en-CA"/>
          </a:p>
        </p:txBody>
      </p:sp>
    </p:spTree>
    <p:extLst>
      <p:ext uri="{BB962C8B-B14F-4D97-AF65-F5344CB8AC3E}">
        <p14:creationId xmlns:p14="http://schemas.microsoft.com/office/powerpoint/2010/main" val="20747675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2116361-D9C7-45B7-B881-65DFE00A7BB3}" type="slidenum">
              <a:rPr lang="en-CA" smtClean="0"/>
              <a:t>50</a:t>
            </a:fld>
            <a:endParaRPr lang="en-CA"/>
          </a:p>
        </p:txBody>
      </p:sp>
    </p:spTree>
    <p:extLst>
      <p:ext uri="{BB962C8B-B14F-4D97-AF65-F5344CB8AC3E}">
        <p14:creationId xmlns:p14="http://schemas.microsoft.com/office/powerpoint/2010/main" val="1915783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9698">
              <a:defRPr sz="2400">
                <a:solidFill>
                  <a:schemeClr val="tx1"/>
                </a:solidFill>
                <a:latin typeface="Times"/>
              </a:defRPr>
            </a:lvl1pPr>
            <a:lvl2pPr marL="742869" indent="-285718" defTabSz="939698">
              <a:defRPr sz="2400">
                <a:solidFill>
                  <a:schemeClr val="tx1"/>
                </a:solidFill>
                <a:latin typeface="Times"/>
              </a:defRPr>
            </a:lvl2pPr>
            <a:lvl3pPr marL="1142875" indent="-228575" defTabSz="939698">
              <a:defRPr sz="2400">
                <a:solidFill>
                  <a:schemeClr val="tx1"/>
                </a:solidFill>
                <a:latin typeface="Times"/>
              </a:defRPr>
            </a:lvl3pPr>
            <a:lvl4pPr marL="1600025" indent="-228575" defTabSz="939698">
              <a:defRPr sz="2400">
                <a:solidFill>
                  <a:schemeClr val="tx1"/>
                </a:solidFill>
                <a:latin typeface="Times"/>
              </a:defRPr>
            </a:lvl4pPr>
            <a:lvl5pPr marL="2057175" indent="-228575" defTabSz="939698">
              <a:defRPr sz="2400">
                <a:solidFill>
                  <a:schemeClr val="tx1"/>
                </a:solidFill>
                <a:latin typeface="Times"/>
              </a:defRPr>
            </a:lvl5pPr>
            <a:lvl6pPr marL="2514325" indent="-228575" defTabSz="939698" eaLnBrk="0" fontAlgn="base" hangingPunct="0">
              <a:spcBef>
                <a:spcPct val="0"/>
              </a:spcBef>
              <a:spcAft>
                <a:spcPct val="0"/>
              </a:spcAft>
              <a:defRPr sz="2400">
                <a:solidFill>
                  <a:schemeClr val="tx1"/>
                </a:solidFill>
                <a:latin typeface="Times"/>
              </a:defRPr>
            </a:lvl6pPr>
            <a:lvl7pPr marL="2971475" indent="-228575" defTabSz="939698" eaLnBrk="0" fontAlgn="base" hangingPunct="0">
              <a:spcBef>
                <a:spcPct val="0"/>
              </a:spcBef>
              <a:spcAft>
                <a:spcPct val="0"/>
              </a:spcAft>
              <a:defRPr sz="2400">
                <a:solidFill>
                  <a:schemeClr val="tx1"/>
                </a:solidFill>
                <a:latin typeface="Times"/>
              </a:defRPr>
            </a:lvl7pPr>
            <a:lvl8pPr marL="3428625" indent="-228575" defTabSz="939698" eaLnBrk="0" fontAlgn="base" hangingPunct="0">
              <a:spcBef>
                <a:spcPct val="0"/>
              </a:spcBef>
              <a:spcAft>
                <a:spcPct val="0"/>
              </a:spcAft>
              <a:defRPr sz="2400">
                <a:solidFill>
                  <a:schemeClr val="tx1"/>
                </a:solidFill>
                <a:latin typeface="Times"/>
              </a:defRPr>
            </a:lvl8pPr>
            <a:lvl9pPr marL="3885776" indent="-228575" defTabSz="939698" eaLnBrk="0" fontAlgn="base" hangingPunct="0">
              <a:spcBef>
                <a:spcPct val="0"/>
              </a:spcBef>
              <a:spcAft>
                <a:spcPct val="0"/>
              </a:spcAft>
              <a:defRPr sz="2400">
                <a:solidFill>
                  <a:schemeClr val="tx1"/>
                </a:solidFill>
                <a:latin typeface="Times"/>
              </a:defRPr>
            </a:lvl9pPr>
          </a:lstStyle>
          <a:p>
            <a:pPr>
              <a:defRPr/>
            </a:pPr>
            <a:fld id="{E919F7FA-F5A7-46A3-8119-815ED3E0A1DB}" type="slidenum">
              <a:rPr lang="en-US" sz="1200">
                <a:solidFill>
                  <a:srgbClr val="000000"/>
                </a:solidFill>
              </a:rPr>
              <a:pPr>
                <a:defRPr/>
              </a:pPr>
              <a:t>14</a:t>
            </a:fld>
            <a:endParaRPr lang="en-US" sz="1200">
              <a:solidFill>
                <a:srgbClr val="000000"/>
              </a:solidFill>
            </a:endParaRPr>
          </a:p>
        </p:txBody>
      </p:sp>
      <p:sp>
        <p:nvSpPr>
          <p:cNvPr id="333827" name="Rectangle 2"/>
          <p:cNvSpPr>
            <a:spLocks noGrp="1" noRot="1" noChangeAspect="1" noChangeArrowheads="1" noTextEdit="1"/>
          </p:cNvSpPr>
          <p:nvPr>
            <p:ph type="sldImg"/>
          </p:nvPr>
        </p:nvSpPr>
        <p:spPr>
          <a:xfrm>
            <a:off x="-1825625" y="311150"/>
            <a:ext cx="8701088" cy="6524625"/>
          </a:xfrm>
          <a:ln/>
        </p:spPr>
      </p:sp>
      <p:sp>
        <p:nvSpPr>
          <p:cNvPr id="83972" name="Rectangle 3"/>
          <p:cNvSpPr>
            <a:spLocks noChangeArrowheads="1"/>
          </p:cNvSpPr>
          <p:nvPr/>
        </p:nvSpPr>
        <p:spPr bwMode="auto">
          <a:xfrm>
            <a:off x="230188" y="6938964"/>
            <a:ext cx="4641850" cy="21431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9412" tIns="49708" rIns="99412" bIns="49708"/>
          <a:lstStyle/>
          <a:p>
            <a:pPr>
              <a:spcBef>
                <a:spcPct val="30000"/>
              </a:spcBef>
              <a:defRPr/>
            </a:pPr>
            <a:r>
              <a:rPr lang="en-US" sz="1200">
                <a:solidFill>
                  <a:srgbClr val="000000"/>
                </a:solidFill>
              </a:rPr>
              <a:t>Notes:</a:t>
            </a:r>
          </a:p>
          <a:p>
            <a:pPr>
              <a:spcBef>
                <a:spcPct val="30000"/>
              </a:spcBef>
              <a:defRPr/>
            </a:pPr>
            <a:endParaRPr lang="en-US" sz="1200">
              <a:solidFill>
                <a:srgbClr val="000000"/>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4722" name="Slide Image Placeholder 1">
            <a:extLst>
              <a:ext uri="{FF2B5EF4-FFF2-40B4-BE49-F238E27FC236}">
                <a16:creationId xmlns:a16="http://schemas.microsoft.com/office/drawing/2014/main" id="{62099AFD-D07A-47A8-B0A9-CE95B31609B9}"/>
              </a:ext>
            </a:extLst>
          </p:cNvPr>
          <p:cNvSpPr>
            <a:spLocks noGrp="1" noRot="1" noChangeAspect="1" noTextEdit="1"/>
          </p:cNvSpPr>
          <p:nvPr>
            <p:ph type="sldImg"/>
          </p:nvPr>
        </p:nvSpPr>
        <p:spPr>
          <a:ln/>
        </p:spPr>
      </p:sp>
      <p:sp>
        <p:nvSpPr>
          <p:cNvPr id="414723" name="Notes Placeholder 2">
            <a:extLst>
              <a:ext uri="{FF2B5EF4-FFF2-40B4-BE49-F238E27FC236}">
                <a16:creationId xmlns:a16="http://schemas.microsoft.com/office/drawing/2014/main" id="{EDB13AC6-CC6E-4C6F-BD2D-108F6BD556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 name="Slide Number Placeholder 3">
            <a:extLst>
              <a:ext uri="{FF2B5EF4-FFF2-40B4-BE49-F238E27FC236}">
                <a16:creationId xmlns:a16="http://schemas.microsoft.com/office/drawing/2014/main" id="{6EBE70E1-EB95-4520-8570-B21A31B42489}"/>
              </a:ext>
            </a:extLst>
          </p:cNvPr>
          <p:cNvSpPr>
            <a:spLocks noGrp="1"/>
          </p:cNvSpPr>
          <p:nvPr>
            <p:ph type="sldNum" sz="quarter" idx="5"/>
          </p:nvPr>
        </p:nvSpPr>
        <p:spPr/>
        <p:txBody>
          <a:bodyPr/>
          <a:lstStyle>
            <a:lvl1pPr defTabSz="939800" eaLnBrk="0" hangingPunct="0">
              <a:defRPr sz="2400">
                <a:solidFill>
                  <a:schemeClr val="tx1"/>
                </a:solidFill>
                <a:latin typeface="Times" panose="02020603050405020304" pitchFamily="18" charset="0"/>
                <a:cs typeface="Arial" panose="020B0604020202020204" pitchFamily="34" charset="0"/>
              </a:defRPr>
            </a:lvl1pPr>
            <a:lvl2pPr marL="742950" indent="-285750" defTabSz="939800" eaLnBrk="0" hangingPunct="0">
              <a:defRPr sz="2400">
                <a:solidFill>
                  <a:schemeClr val="tx1"/>
                </a:solidFill>
                <a:latin typeface="Times" panose="02020603050405020304" pitchFamily="18" charset="0"/>
                <a:cs typeface="Arial" panose="020B0604020202020204" pitchFamily="34" charset="0"/>
              </a:defRPr>
            </a:lvl2pPr>
            <a:lvl3pPr marL="1143000" indent="-228600" defTabSz="939800" eaLnBrk="0" hangingPunct="0">
              <a:defRPr sz="2400">
                <a:solidFill>
                  <a:schemeClr val="tx1"/>
                </a:solidFill>
                <a:latin typeface="Times" panose="02020603050405020304" pitchFamily="18" charset="0"/>
                <a:cs typeface="Arial" panose="020B0604020202020204" pitchFamily="34" charset="0"/>
              </a:defRPr>
            </a:lvl3pPr>
            <a:lvl4pPr marL="1600200" indent="-228600" defTabSz="939800" eaLnBrk="0" hangingPunct="0">
              <a:defRPr sz="2400">
                <a:solidFill>
                  <a:schemeClr val="tx1"/>
                </a:solidFill>
                <a:latin typeface="Times" panose="02020603050405020304" pitchFamily="18" charset="0"/>
                <a:cs typeface="Arial" panose="020B0604020202020204" pitchFamily="34" charset="0"/>
              </a:defRPr>
            </a:lvl4pPr>
            <a:lvl5pPr marL="2057400" indent="-228600" defTabSz="939800" eaLnBrk="0" hangingPunct="0">
              <a:defRPr sz="2400">
                <a:solidFill>
                  <a:schemeClr val="tx1"/>
                </a:solidFill>
                <a:latin typeface="Times" panose="02020603050405020304" pitchFamily="18" charset="0"/>
                <a:cs typeface="Arial" panose="020B0604020202020204" pitchFamily="34" charset="0"/>
              </a:defRPr>
            </a:lvl5pPr>
            <a:lvl6pPr marL="2514600" indent="-228600" defTabSz="939800" eaLnBrk="0" fontAlgn="base" hangingPunct="0">
              <a:spcBef>
                <a:spcPct val="0"/>
              </a:spcBef>
              <a:spcAft>
                <a:spcPct val="0"/>
              </a:spcAft>
              <a:defRPr sz="2400">
                <a:solidFill>
                  <a:schemeClr val="tx1"/>
                </a:solidFill>
                <a:latin typeface="Times" panose="02020603050405020304" pitchFamily="18" charset="0"/>
                <a:cs typeface="Arial" panose="020B0604020202020204" pitchFamily="34" charset="0"/>
              </a:defRPr>
            </a:lvl6pPr>
            <a:lvl7pPr marL="2971800" indent="-228600" defTabSz="939800" eaLnBrk="0" fontAlgn="base" hangingPunct="0">
              <a:spcBef>
                <a:spcPct val="0"/>
              </a:spcBef>
              <a:spcAft>
                <a:spcPct val="0"/>
              </a:spcAft>
              <a:defRPr sz="2400">
                <a:solidFill>
                  <a:schemeClr val="tx1"/>
                </a:solidFill>
                <a:latin typeface="Times" panose="02020603050405020304" pitchFamily="18" charset="0"/>
                <a:cs typeface="Arial" panose="020B0604020202020204" pitchFamily="34" charset="0"/>
              </a:defRPr>
            </a:lvl7pPr>
            <a:lvl8pPr marL="3429000" indent="-228600" defTabSz="939800" eaLnBrk="0" fontAlgn="base" hangingPunct="0">
              <a:spcBef>
                <a:spcPct val="0"/>
              </a:spcBef>
              <a:spcAft>
                <a:spcPct val="0"/>
              </a:spcAft>
              <a:defRPr sz="2400">
                <a:solidFill>
                  <a:schemeClr val="tx1"/>
                </a:solidFill>
                <a:latin typeface="Times" panose="02020603050405020304" pitchFamily="18" charset="0"/>
                <a:cs typeface="Arial" panose="020B0604020202020204" pitchFamily="34" charset="0"/>
              </a:defRPr>
            </a:lvl8pPr>
            <a:lvl9pPr marL="3886200" indent="-228600" defTabSz="939800" eaLnBrk="0" fontAlgn="base" hangingPunct="0">
              <a:spcBef>
                <a:spcPct val="0"/>
              </a:spcBef>
              <a:spcAft>
                <a:spcPct val="0"/>
              </a:spcAft>
              <a:defRPr sz="2400">
                <a:solidFill>
                  <a:schemeClr val="tx1"/>
                </a:solidFill>
                <a:latin typeface="Times" panose="02020603050405020304" pitchFamily="18" charset="0"/>
                <a:cs typeface="Arial" panose="020B0604020202020204" pitchFamily="34" charset="0"/>
              </a:defRPr>
            </a:lvl9pPr>
          </a:lstStyle>
          <a:p>
            <a:fld id="{1115ABBC-B576-432C-A102-49454F433749}" type="slidenum">
              <a:rPr lang="en-US" altLang="en-US" sz="1200"/>
              <a:pPr/>
              <a:t>58</a:t>
            </a:fld>
            <a:endParaRPr lang="en-US" altLang="en-US" sz="1200"/>
          </a:p>
        </p:txBody>
      </p:sp>
    </p:spTree>
    <p:extLst>
      <p:ext uri="{BB962C8B-B14F-4D97-AF65-F5344CB8AC3E}">
        <p14:creationId xmlns:p14="http://schemas.microsoft.com/office/powerpoint/2010/main" val="28431119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FFE6BE41-01BA-43BD-981D-D3207E7620EF}"/>
              </a:ext>
            </a:extLst>
          </p:cNvPr>
          <p:cNvSpPr>
            <a:spLocks noGrp="1" noRot="1" noChangeAspect="1" noTextEdit="1"/>
          </p:cNvSpPr>
          <p:nvPr>
            <p:ph type="sldImg"/>
          </p:nvPr>
        </p:nvSpPr>
        <p:spPr>
          <a:ln/>
        </p:spPr>
      </p:sp>
      <p:sp>
        <p:nvSpPr>
          <p:cNvPr id="46083" name="Notes Placeholder 2">
            <a:extLst>
              <a:ext uri="{FF2B5EF4-FFF2-40B4-BE49-F238E27FC236}">
                <a16:creationId xmlns:a16="http://schemas.microsoft.com/office/drawing/2014/main" id="{03F53AE3-F23E-47F3-8652-324481A4495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From observational study (sample size, power of sample) </a:t>
            </a:r>
            <a:r>
              <a:rPr lang="en-US" altLang="en-US">
                <a:sym typeface="Wingdings" panose="05000000000000000000" pitchFamily="2" charset="2"/>
              </a:rPr>
              <a:t></a:t>
            </a:r>
            <a:endParaRPr lang="en-US" altLang="en-US"/>
          </a:p>
        </p:txBody>
      </p:sp>
      <p:sp>
        <p:nvSpPr>
          <p:cNvPr id="46084" name="Slide Number Placeholder 3">
            <a:extLst>
              <a:ext uri="{FF2B5EF4-FFF2-40B4-BE49-F238E27FC236}">
                <a16:creationId xmlns:a16="http://schemas.microsoft.com/office/drawing/2014/main" id="{07DA6947-71F9-4507-B23B-9180E368AA6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115BBA0-6C45-4F9B-A2C4-6A927D8EF21C}" type="slidenum">
              <a:rPr lang="de-DE" altLang="en-US">
                <a:latin typeface="TKTypeMedium" pitchFamily="34" charset="0"/>
              </a:rPr>
              <a:pPr/>
              <a:t>63</a:t>
            </a:fld>
            <a:endParaRPr lang="de-DE" altLang="en-US">
              <a:latin typeface="TKTypeMedium"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2116361-D9C7-45B7-B881-65DFE00A7BB3}" type="slidenum">
              <a:rPr lang="en-CA" smtClean="0"/>
              <a:t>70</a:t>
            </a:fld>
            <a:endParaRPr lang="en-CA"/>
          </a:p>
        </p:txBody>
      </p:sp>
    </p:spTree>
    <p:extLst>
      <p:ext uri="{BB962C8B-B14F-4D97-AF65-F5344CB8AC3E}">
        <p14:creationId xmlns:p14="http://schemas.microsoft.com/office/powerpoint/2010/main" val="18290805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2116361-D9C7-45B7-B881-65DFE00A7BB3}" type="slidenum">
              <a:rPr lang="en-CA" smtClean="0"/>
              <a:t>71</a:t>
            </a:fld>
            <a:endParaRPr lang="en-CA"/>
          </a:p>
        </p:txBody>
      </p:sp>
    </p:spTree>
    <p:extLst>
      <p:ext uri="{BB962C8B-B14F-4D97-AF65-F5344CB8AC3E}">
        <p14:creationId xmlns:p14="http://schemas.microsoft.com/office/powerpoint/2010/main" val="3593579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1E69171-8B10-4593-ACEA-8F5FDA9EAFDA}" type="slidenum">
              <a:rPr lang="en-US" smtClean="0"/>
              <a:pPr>
                <a:defRPr/>
              </a:pPr>
              <a:t>18</a:t>
            </a:fld>
            <a:endParaRPr lang="en-US"/>
          </a:p>
        </p:txBody>
      </p:sp>
    </p:spTree>
    <p:extLst>
      <p:ext uri="{BB962C8B-B14F-4D97-AF65-F5344CB8AC3E}">
        <p14:creationId xmlns:p14="http://schemas.microsoft.com/office/powerpoint/2010/main" val="1012155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FC650DC5-0ADE-46C5-BA96-D113942F4D29}"/>
              </a:ext>
            </a:extLst>
          </p:cNvPr>
          <p:cNvSpPr>
            <a:spLocks noGrp="1" noRot="1" noChangeAspect="1" noTextEdit="1"/>
          </p:cNvSpPr>
          <p:nvPr>
            <p:ph type="sldImg"/>
          </p:nvPr>
        </p:nvSpPr>
        <p:spPr>
          <a:ln/>
        </p:spPr>
      </p:sp>
      <p:sp>
        <p:nvSpPr>
          <p:cNvPr id="138243" name="Notes Placeholder 2">
            <a:extLst>
              <a:ext uri="{FF2B5EF4-FFF2-40B4-BE49-F238E27FC236}">
                <a16:creationId xmlns:a16="http://schemas.microsoft.com/office/drawing/2014/main" id="{4B93F888-980E-4A99-9231-FF6B51401A09}"/>
              </a:ext>
            </a:extLst>
          </p:cNvPr>
          <p:cNvSpPr>
            <a:spLocks noGrp="1"/>
          </p:cNvSpPr>
          <p:nvPr>
            <p:ph type="body" idx="1"/>
          </p:nvPr>
        </p:nvSpPr>
        <p:spPr>
          <a:noFill/>
        </p:spPr>
        <p:txBody>
          <a:bodyPr/>
          <a:lstStyle/>
          <a:p>
            <a:endParaRPr lang="en-US" altLang="en-US"/>
          </a:p>
        </p:txBody>
      </p:sp>
      <p:sp>
        <p:nvSpPr>
          <p:cNvPr id="138244" name="Slide Number Placeholder 3">
            <a:extLst>
              <a:ext uri="{FF2B5EF4-FFF2-40B4-BE49-F238E27FC236}">
                <a16:creationId xmlns:a16="http://schemas.microsoft.com/office/drawing/2014/main" id="{A28108DB-2032-46AC-90EE-F2B3939E4544}"/>
              </a:ext>
            </a:extLst>
          </p:cNvPr>
          <p:cNvSpPr>
            <a:spLocks noGrp="1"/>
          </p:cNvSpPr>
          <p:nvPr>
            <p:ph type="sldNum" sz="quarter" idx="5"/>
          </p:nvPr>
        </p:nvSpPr>
        <p:spPr>
          <a:noFill/>
        </p:spPr>
        <p:txBody>
          <a:bodyPr/>
          <a:lstStyle>
            <a:lvl1pPr defTabSz="931863" eaLnBrk="0" hangingPunct="0">
              <a:spcBef>
                <a:spcPct val="30000"/>
              </a:spcBef>
              <a:defRPr sz="1200">
                <a:solidFill>
                  <a:schemeClr val="tx1"/>
                </a:solidFill>
                <a:latin typeface="Times New Roman" panose="02020603050405020304" pitchFamily="18" charset="0"/>
              </a:defRPr>
            </a:lvl1pPr>
            <a:lvl2pPr marL="742950" indent="-285750" defTabSz="931863" eaLnBrk="0" hangingPunct="0">
              <a:spcBef>
                <a:spcPct val="30000"/>
              </a:spcBef>
              <a:defRPr sz="1200">
                <a:solidFill>
                  <a:schemeClr val="tx1"/>
                </a:solidFill>
                <a:latin typeface="Times New Roman" panose="02020603050405020304" pitchFamily="18" charset="0"/>
              </a:defRPr>
            </a:lvl2pPr>
            <a:lvl3pPr marL="1143000" indent="-228600" defTabSz="931863" eaLnBrk="0" hangingPunct="0">
              <a:spcBef>
                <a:spcPct val="30000"/>
              </a:spcBef>
              <a:defRPr sz="1200">
                <a:solidFill>
                  <a:schemeClr val="tx1"/>
                </a:solidFill>
                <a:latin typeface="Times New Roman" panose="02020603050405020304" pitchFamily="18" charset="0"/>
              </a:defRPr>
            </a:lvl3pPr>
            <a:lvl4pPr marL="1600200" indent="-228600" defTabSz="931863" eaLnBrk="0" hangingPunct="0">
              <a:spcBef>
                <a:spcPct val="30000"/>
              </a:spcBef>
              <a:defRPr sz="1200">
                <a:solidFill>
                  <a:schemeClr val="tx1"/>
                </a:solidFill>
                <a:latin typeface="Times New Roman" panose="02020603050405020304" pitchFamily="18" charset="0"/>
              </a:defRPr>
            </a:lvl4pPr>
            <a:lvl5pPr marL="2057400" indent="-228600" defTabSz="931863" eaLnBrk="0" hangingPunct="0">
              <a:spcBef>
                <a:spcPct val="30000"/>
              </a:spcBef>
              <a:defRPr sz="1200">
                <a:solidFill>
                  <a:schemeClr val="tx1"/>
                </a:solidFill>
                <a:latin typeface="Times New Roman" panose="02020603050405020304" pitchFamily="18" charset="0"/>
              </a:defRPr>
            </a:lvl5pPr>
            <a:lvl6pPr marL="2514600" indent="-228600" defTabSz="9318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18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18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1863"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728653C1-FA62-4333-9589-300C3E3BC676}" type="slidenum">
              <a:rPr lang="en-US" altLang="en-US">
                <a:solidFill>
                  <a:srgbClr val="000000"/>
                </a:solidFill>
              </a:rPr>
              <a:pPr eaLnBrk="1" hangingPunct="1">
                <a:spcBef>
                  <a:spcPct val="0"/>
                </a:spcBef>
              </a:pPr>
              <a:t>19</a:t>
            </a:fld>
            <a:endParaRPr lang="en-US" altLang="en-US">
              <a:solidFill>
                <a:srgbClr val="000000"/>
              </a:solidFill>
            </a:endParaRPr>
          </a:p>
        </p:txBody>
      </p:sp>
    </p:spTree>
    <p:extLst>
      <p:ext uri="{BB962C8B-B14F-4D97-AF65-F5344CB8AC3E}">
        <p14:creationId xmlns:p14="http://schemas.microsoft.com/office/powerpoint/2010/main" val="4249676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FC650DC5-0ADE-46C5-BA96-D113942F4D29}"/>
              </a:ext>
            </a:extLst>
          </p:cNvPr>
          <p:cNvSpPr>
            <a:spLocks noGrp="1" noRot="1" noChangeAspect="1" noTextEdit="1"/>
          </p:cNvSpPr>
          <p:nvPr>
            <p:ph type="sldImg"/>
          </p:nvPr>
        </p:nvSpPr>
        <p:spPr>
          <a:ln/>
        </p:spPr>
      </p:sp>
      <p:sp>
        <p:nvSpPr>
          <p:cNvPr id="138243" name="Notes Placeholder 2">
            <a:extLst>
              <a:ext uri="{FF2B5EF4-FFF2-40B4-BE49-F238E27FC236}">
                <a16:creationId xmlns:a16="http://schemas.microsoft.com/office/drawing/2014/main" id="{4B93F888-980E-4A99-9231-FF6B51401A09}"/>
              </a:ext>
            </a:extLst>
          </p:cNvPr>
          <p:cNvSpPr>
            <a:spLocks noGrp="1"/>
          </p:cNvSpPr>
          <p:nvPr>
            <p:ph type="body" idx="1"/>
          </p:nvPr>
        </p:nvSpPr>
        <p:spPr>
          <a:noFill/>
        </p:spPr>
        <p:txBody>
          <a:bodyPr/>
          <a:lstStyle/>
          <a:p>
            <a:endParaRPr lang="en-US" altLang="en-US"/>
          </a:p>
        </p:txBody>
      </p:sp>
      <p:sp>
        <p:nvSpPr>
          <p:cNvPr id="138244" name="Slide Number Placeholder 3">
            <a:extLst>
              <a:ext uri="{FF2B5EF4-FFF2-40B4-BE49-F238E27FC236}">
                <a16:creationId xmlns:a16="http://schemas.microsoft.com/office/drawing/2014/main" id="{A28108DB-2032-46AC-90EE-F2B3939E4544}"/>
              </a:ext>
            </a:extLst>
          </p:cNvPr>
          <p:cNvSpPr>
            <a:spLocks noGrp="1"/>
          </p:cNvSpPr>
          <p:nvPr>
            <p:ph type="sldNum" sz="quarter" idx="5"/>
          </p:nvPr>
        </p:nvSpPr>
        <p:spPr>
          <a:noFill/>
        </p:spPr>
        <p:txBody>
          <a:bodyPr/>
          <a:lstStyle>
            <a:lvl1pPr defTabSz="931863" eaLnBrk="0" hangingPunct="0">
              <a:spcBef>
                <a:spcPct val="30000"/>
              </a:spcBef>
              <a:defRPr sz="1200">
                <a:solidFill>
                  <a:schemeClr val="tx1"/>
                </a:solidFill>
                <a:latin typeface="Times New Roman" panose="02020603050405020304" pitchFamily="18" charset="0"/>
              </a:defRPr>
            </a:lvl1pPr>
            <a:lvl2pPr marL="742950" indent="-285750" defTabSz="931863" eaLnBrk="0" hangingPunct="0">
              <a:spcBef>
                <a:spcPct val="30000"/>
              </a:spcBef>
              <a:defRPr sz="1200">
                <a:solidFill>
                  <a:schemeClr val="tx1"/>
                </a:solidFill>
                <a:latin typeface="Times New Roman" panose="02020603050405020304" pitchFamily="18" charset="0"/>
              </a:defRPr>
            </a:lvl2pPr>
            <a:lvl3pPr marL="1143000" indent="-228600" defTabSz="931863" eaLnBrk="0" hangingPunct="0">
              <a:spcBef>
                <a:spcPct val="30000"/>
              </a:spcBef>
              <a:defRPr sz="1200">
                <a:solidFill>
                  <a:schemeClr val="tx1"/>
                </a:solidFill>
                <a:latin typeface="Times New Roman" panose="02020603050405020304" pitchFamily="18" charset="0"/>
              </a:defRPr>
            </a:lvl3pPr>
            <a:lvl4pPr marL="1600200" indent="-228600" defTabSz="931863" eaLnBrk="0" hangingPunct="0">
              <a:spcBef>
                <a:spcPct val="30000"/>
              </a:spcBef>
              <a:defRPr sz="1200">
                <a:solidFill>
                  <a:schemeClr val="tx1"/>
                </a:solidFill>
                <a:latin typeface="Times New Roman" panose="02020603050405020304" pitchFamily="18" charset="0"/>
              </a:defRPr>
            </a:lvl4pPr>
            <a:lvl5pPr marL="2057400" indent="-228600" defTabSz="931863" eaLnBrk="0" hangingPunct="0">
              <a:spcBef>
                <a:spcPct val="30000"/>
              </a:spcBef>
              <a:defRPr sz="1200">
                <a:solidFill>
                  <a:schemeClr val="tx1"/>
                </a:solidFill>
                <a:latin typeface="Times New Roman" panose="02020603050405020304" pitchFamily="18" charset="0"/>
              </a:defRPr>
            </a:lvl5pPr>
            <a:lvl6pPr marL="2514600" indent="-228600" defTabSz="9318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18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18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1863"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728653C1-FA62-4333-9589-300C3E3BC676}" type="slidenum">
              <a:rPr lang="en-US" altLang="en-US">
                <a:solidFill>
                  <a:srgbClr val="000000"/>
                </a:solidFill>
              </a:rPr>
              <a:pPr eaLnBrk="1" hangingPunct="1">
                <a:spcBef>
                  <a:spcPct val="0"/>
                </a:spcBef>
              </a:pPr>
              <a:t>20</a:t>
            </a:fld>
            <a:endParaRPr lang="en-US" altLang="en-US">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FFE6BE41-01BA-43BD-981D-D3207E7620EF}"/>
              </a:ext>
            </a:extLst>
          </p:cNvPr>
          <p:cNvSpPr>
            <a:spLocks noGrp="1" noRot="1" noChangeAspect="1" noTextEdit="1"/>
          </p:cNvSpPr>
          <p:nvPr>
            <p:ph type="sldImg"/>
          </p:nvPr>
        </p:nvSpPr>
        <p:spPr>
          <a:ln/>
        </p:spPr>
      </p:sp>
      <p:sp>
        <p:nvSpPr>
          <p:cNvPr id="46083" name="Notes Placeholder 2">
            <a:extLst>
              <a:ext uri="{FF2B5EF4-FFF2-40B4-BE49-F238E27FC236}">
                <a16:creationId xmlns:a16="http://schemas.microsoft.com/office/drawing/2014/main" id="{03F53AE3-F23E-47F3-8652-324481A4495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From observational study (sample size, power of sample) </a:t>
            </a:r>
            <a:r>
              <a:rPr lang="en-US" altLang="en-US">
                <a:sym typeface="Wingdings" panose="05000000000000000000" pitchFamily="2" charset="2"/>
              </a:rPr>
              <a:t></a:t>
            </a:r>
            <a:endParaRPr lang="en-US" altLang="en-US"/>
          </a:p>
        </p:txBody>
      </p:sp>
      <p:sp>
        <p:nvSpPr>
          <p:cNvPr id="46084" name="Slide Number Placeholder 3">
            <a:extLst>
              <a:ext uri="{FF2B5EF4-FFF2-40B4-BE49-F238E27FC236}">
                <a16:creationId xmlns:a16="http://schemas.microsoft.com/office/drawing/2014/main" id="{07DA6947-71F9-4507-B23B-9180E368AA6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115BBA0-6C45-4F9B-A2C4-6A927D8EF21C}" type="slidenum">
              <a:rPr lang="de-DE" altLang="en-US">
                <a:latin typeface="TKTypeMedium" pitchFamily="34" charset="0"/>
              </a:rPr>
              <a:pPr/>
              <a:t>25</a:t>
            </a:fld>
            <a:endParaRPr lang="de-DE" altLang="en-US">
              <a:latin typeface="TKTypeMedium"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FC650DC5-0ADE-46C5-BA96-D113942F4D29}"/>
              </a:ext>
            </a:extLst>
          </p:cNvPr>
          <p:cNvSpPr>
            <a:spLocks noGrp="1" noRot="1" noChangeAspect="1" noTextEdit="1"/>
          </p:cNvSpPr>
          <p:nvPr>
            <p:ph type="sldImg"/>
          </p:nvPr>
        </p:nvSpPr>
        <p:spPr>
          <a:ln/>
        </p:spPr>
      </p:sp>
      <p:sp>
        <p:nvSpPr>
          <p:cNvPr id="138243" name="Notes Placeholder 2">
            <a:extLst>
              <a:ext uri="{FF2B5EF4-FFF2-40B4-BE49-F238E27FC236}">
                <a16:creationId xmlns:a16="http://schemas.microsoft.com/office/drawing/2014/main" id="{4B93F888-980E-4A99-9231-FF6B51401A09}"/>
              </a:ext>
            </a:extLst>
          </p:cNvPr>
          <p:cNvSpPr>
            <a:spLocks noGrp="1"/>
          </p:cNvSpPr>
          <p:nvPr>
            <p:ph type="body" idx="1"/>
          </p:nvPr>
        </p:nvSpPr>
        <p:spPr>
          <a:noFill/>
        </p:spPr>
        <p:txBody>
          <a:bodyPr/>
          <a:lstStyle/>
          <a:p>
            <a:endParaRPr lang="en-US" altLang="en-US"/>
          </a:p>
        </p:txBody>
      </p:sp>
      <p:sp>
        <p:nvSpPr>
          <p:cNvPr id="138244" name="Slide Number Placeholder 3">
            <a:extLst>
              <a:ext uri="{FF2B5EF4-FFF2-40B4-BE49-F238E27FC236}">
                <a16:creationId xmlns:a16="http://schemas.microsoft.com/office/drawing/2014/main" id="{A28108DB-2032-46AC-90EE-F2B3939E4544}"/>
              </a:ext>
            </a:extLst>
          </p:cNvPr>
          <p:cNvSpPr>
            <a:spLocks noGrp="1"/>
          </p:cNvSpPr>
          <p:nvPr>
            <p:ph type="sldNum" sz="quarter" idx="5"/>
          </p:nvPr>
        </p:nvSpPr>
        <p:spPr>
          <a:noFill/>
        </p:spPr>
        <p:txBody>
          <a:bodyPr/>
          <a:lstStyle>
            <a:lvl1pPr defTabSz="931863" eaLnBrk="0" hangingPunct="0">
              <a:spcBef>
                <a:spcPct val="30000"/>
              </a:spcBef>
              <a:defRPr sz="1200">
                <a:solidFill>
                  <a:schemeClr val="tx1"/>
                </a:solidFill>
                <a:latin typeface="Times New Roman" panose="02020603050405020304" pitchFamily="18" charset="0"/>
              </a:defRPr>
            </a:lvl1pPr>
            <a:lvl2pPr marL="742950" indent="-285750" defTabSz="931863" eaLnBrk="0" hangingPunct="0">
              <a:spcBef>
                <a:spcPct val="30000"/>
              </a:spcBef>
              <a:defRPr sz="1200">
                <a:solidFill>
                  <a:schemeClr val="tx1"/>
                </a:solidFill>
                <a:latin typeface="Times New Roman" panose="02020603050405020304" pitchFamily="18" charset="0"/>
              </a:defRPr>
            </a:lvl2pPr>
            <a:lvl3pPr marL="1143000" indent="-228600" defTabSz="931863" eaLnBrk="0" hangingPunct="0">
              <a:spcBef>
                <a:spcPct val="30000"/>
              </a:spcBef>
              <a:defRPr sz="1200">
                <a:solidFill>
                  <a:schemeClr val="tx1"/>
                </a:solidFill>
                <a:latin typeface="Times New Roman" panose="02020603050405020304" pitchFamily="18" charset="0"/>
              </a:defRPr>
            </a:lvl3pPr>
            <a:lvl4pPr marL="1600200" indent="-228600" defTabSz="931863" eaLnBrk="0" hangingPunct="0">
              <a:spcBef>
                <a:spcPct val="30000"/>
              </a:spcBef>
              <a:defRPr sz="1200">
                <a:solidFill>
                  <a:schemeClr val="tx1"/>
                </a:solidFill>
                <a:latin typeface="Times New Roman" panose="02020603050405020304" pitchFamily="18" charset="0"/>
              </a:defRPr>
            </a:lvl4pPr>
            <a:lvl5pPr marL="2057400" indent="-228600" defTabSz="931863" eaLnBrk="0" hangingPunct="0">
              <a:spcBef>
                <a:spcPct val="30000"/>
              </a:spcBef>
              <a:defRPr sz="1200">
                <a:solidFill>
                  <a:schemeClr val="tx1"/>
                </a:solidFill>
                <a:latin typeface="Times New Roman" panose="02020603050405020304" pitchFamily="18" charset="0"/>
              </a:defRPr>
            </a:lvl5pPr>
            <a:lvl6pPr marL="2514600" indent="-228600" defTabSz="9318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18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18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1863"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728653C1-FA62-4333-9589-300C3E3BC676}" type="slidenum">
              <a:rPr lang="en-US" altLang="en-US">
                <a:solidFill>
                  <a:srgbClr val="000000"/>
                </a:solidFill>
              </a:rPr>
              <a:pPr eaLnBrk="1" hangingPunct="1">
                <a:spcBef>
                  <a:spcPct val="0"/>
                </a:spcBef>
              </a:pPr>
              <a:t>27</a:t>
            </a:fld>
            <a:endParaRPr lang="en-US" altLang="en-US">
              <a:solidFill>
                <a:srgbClr val="000000"/>
              </a:solidFill>
            </a:endParaRPr>
          </a:p>
        </p:txBody>
      </p:sp>
    </p:spTree>
    <p:extLst>
      <p:ext uri="{BB962C8B-B14F-4D97-AF65-F5344CB8AC3E}">
        <p14:creationId xmlns:p14="http://schemas.microsoft.com/office/powerpoint/2010/main" val="28826994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FC650DC5-0ADE-46C5-BA96-D113942F4D29}"/>
              </a:ext>
            </a:extLst>
          </p:cNvPr>
          <p:cNvSpPr>
            <a:spLocks noGrp="1" noRot="1" noChangeAspect="1" noTextEdit="1"/>
          </p:cNvSpPr>
          <p:nvPr>
            <p:ph type="sldImg"/>
          </p:nvPr>
        </p:nvSpPr>
        <p:spPr>
          <a:ln/>
        </p:spPr>
      </p:sp>
      <p:sp>
        <p:nvSpPr>
          <p:cNvPr id="138243" name="Notes Placeholder 2">
            <a:extLst>
              <a:ext uri="{FF2B5EF4-FFF2-40B4-BE49-F238E27FC236}">
                <a16:creationId xmlns:a16="http://schemas.microsoft.com/office/drawing/2014/main" id="{4B93F888-980E-4A99-9231-FF6B51401A09}"/>
              </a:ext>
            </a:extLst>
          </p:cNvPr>
          <p:cNvSpPr>
            <a:spLocks noGrp="1"/>
          </p:cNvSpPr>
          <p:nvPr>
            <p:ph type="body" idx="1"/>
          </p:nvPr>
        </p:nvSpPr>
        <p:spPr>
          <a:noFill/>
        </p:spPr>
        <p:txBody>
          <a:bodyPr/>
          <a:lstStyle/>
          <a:p>
            <a:endParaRPr lang="en-US" altLang="en-US"/>
          </a:p>
        </p:txBody>
      </p:sp>
      <p:sp>
        <p:nvSpPr>
          <p:cNvPr id="138244" name="Slide Number Placeholder 3">
            <a:extLst>
              <a:ext uri="{FF2B5EF4-FFF2-40B4-BE49-F238E27FC236}">
                <a16:creationId xmlns:a16="http://schemas.microsoft.com/office/drawing/2014/main" id="{A28108DB-2032-46AC-90EE-F2B3939E4544}"/>
              </a:ext>
            </a:extLst>
          </p:cNvPr>
          <p:cNvSpPr>
            <a:spLocks noGrp="1"/>
          </p:cNvSpPr>
          <p:nvPr>
            <p:ph type="sldNum" sz="quarter" idx="5"/>
          </p:nvPr>
        </p:nvSpPr>
        <p:spPr>
          <a:noFill/>
        </p:spPr>
        <p:txBody>
          <a:bodyPr/>
          <a:lstStyle>
            <a:lvl1pPr defTabSz="931863" eaLnBrk="0" hangingPunct="0">
              <a:spcBef>
                <a:spcPct val="30000"/>
              </a:spcBef>
              <a:defRPr sz="1200">
                <a:solidFill>
                  <a:schemeClr val="tx1"/>
                </a:solidFill>
                <a:latin typeface="Times New Roman" panose="02020603050405020304" pitchFamily="18" charset="0"/>
              </a:defRPr>
            </a:lvl1pPr>
            <a:lvl2pPr marL="742950" indent="-285750" defTabSz="931863" eaLnBrk="0" hangingPunct="0">
              <a:spcBef>
                <a:spcPct val="30000"/>
              </a:spcBef>
              <a:defRPr sz="1200">
                <a:solidFill>
                  <a:schemeClr val="tx1"/>
                </a:solidFill>
                <a:latin typeface="Times New Roman" panose="02020603050405020304" pitchFamily="18" charset="0"/>
              </a:defRPr>
            </a:lvl2pPr>
            <a:lvl3pPr marL="1143000" indent="-228600" defTabSz="931863" eaLnBrk="0" hangingPunct="0">
              <a:spcBef>
                <a:spcPct val="30000"/>
              </a:spcBef>
              <a:defRPr sz="1200">
                <a:solidFill>
                  <a:schemeClr val="tx1"/>
                </a:solidFill>
                <a:latin typeface="Times New Roman" panose="02020603050405020304" pitchFamily="18" charset="0"/>
              </a:defRPr>
            </a:lvl3pPr>
            <a:lvl4pPr marL="1600200" indent="-228600" defTabSz="931863" eaLnBrk="0" hangingPunct="0">
              <a:spcBef>
                <a:spcPct val="30000"/>
              </a:spcBef>
              <a:defRPr sz="1200">
                <a:solidFill>
                  <a:schemeClr val="tx1"/>
                </a:solidFill>
                <a:latin typeface="Times New Roman" panose="02020603050405020304" pitchFamily="18" charset="0"/>
              </a:defRPr>
            </a:lvl4pPr>
            <a:lvl5pPr marL="2057400" indent="-228600" defTabSz="931863" eaLnBrk="0" hangingPunct="0">
              <a:spcBef>
                <a:spcPct val="30000"/>
              </a:spcBef>
              <a:defRPr sz="1200">
                <a:solidFill>
                  <a:schemeClr val="tx1"/>
                </a:solidFill>
                <a:latin typeface="Times New Roman" panose="02020603050405020304" pitchFamily="18" charset="0"/>
              </a:defRPr>
            </a:lvl5pPr>
            <a:lvl6pPr marL="2514600" indent="-228600" defTabSz="9318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18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18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1863"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728653C1-FA62-4333-9589-300C3E3BC676}" type="slidenum">
              <a:rPr lang="en-US" altLang="en-US">
                <a:solidFill>
                  <a:srgbClr val="000000"/>
                </a:solidFill>
              </a:rPr>
              <a:pPr eaLnBrk="1" hangingPunct="1">
                <a:spcBef>
                  <a:spcPct val="0"/>
                </a:spcBef>
              </a:pPr>
              <a:t>32</a:t>
            </a:fld>
            <a:endParaRPr lang="en-US" altLang="en-US">
              <a:solidFill>
                <a:srgbClr val="000000"/>
              </a:solidFill>
            </a:endParaRPr>
          </a:p>
        </p:txBody>
      </p:sp>
    </p:spTree>
    <p:extLst>
      <p:ext uri="{BB962C8B-B14F-4D97-AF65-F5344CB8AC3E}">
        <p14:creationId xmlns:p14="http://schemas.microsoft.com/office/powerpoint/2010/main" val="3922129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2213" y="704850"/>
            <a:ext cx="4692650" cy="35194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0D78213-D397-4A04-81B2-FE43D821039E}" type="slidenum">
              <a:rPr lang="en-US" smtClean="0"/>
              <a:pPr>
                <a:defRPr/>
              </a:pPr>
              <a:t>37</a:t>
            </a:fld>
            <a:endParaRPr lang="en-US"/>
          </a:p>
        </p:txBody>
      </p:sp>
    </p:spTree>
    <p:extLst>
      <p:ext uri="{BB962C8B-B14F-4D97-AF65-F5344CB8AC3E}">
        <p14:creationId xmlns:p14="http://schemas.microsoft.com/office/powerpoint/2010/main" val="7039090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383">
            <a:extLst>
              <a:ext uri="{FF2B5EF4-FFF2-40B4-BE49-F238E27FC236}">
                <a16:creationId xmlns:a16="http://schemas.microsoft.com/office/drawing/2014/main" id="{09A78743-2154-445E-BE40-B0D15D3A931B}"/>
              </a:ext>
            </a:extLst>
          </p:cNvPr>
          <p:cNvGrpSpPr>
            <a:grpSpLocks/>
          </p:cNvGrpSpPr>
          <p:nvPr/>
        </p:nvGrpSpPr>
        <p:grpSpPr bwMode="auto">
          <a:xfrm>
            <a:off x="0" y="0"/>
            <a:ext cx="9144000" cy="5943600"/>
            <a:chOff x="0" y="0"/>
            <a:chExt cx="5760" cy="3744"/>
          </a:xfrm>
        </p:grpSpPr>
        <p:sp>
          <p:nvSpPr>
            <p:cNvPr id="5" name="Rectangle 369">
              <a:extLst>
                <a:ext uri="{FF2B5EF4-FFF2-40B4-BE49-F238E27FC236}">
                  <a16:creationId xmlns:a16="http://schemas.microsoft.com/office/drawing/2014/main" id="{0B65D255-CE98-4919-BEFC-854AA6252C0E}"/>
                </a:ext>
              </a:extLst>
            </p:cNvPr>
            <p:cNvSpPr>
              <a:spLocks noChangeArrowheads="1"/>
            </p:cNvSpPr>
            <p:nvPr userDrawn="1"/>
          </p:nvSpPr>
          <p:spPr bwMode="auto">
            <a:xfrm>
              <a:off x="1728" y="0"/>
              <a:ext cx="4032" cy="2016"/>
            </a:xfrm>
            <a:prstGeom prst="rect">
              <a:avLst/>
            </a:prstGeom>
            <a:gradFill rotWithShape="0">
              <a:gsLst>
                <a:gs pos="0">
                  <a:srgbClr val="29539B"/>
                </a:gs>
                <a:gs pos="100000">
                  <a:schemeClr val="bg1"/>
                </a:gs>
              </a:gsLst>
              <a:lin ang="0" scaled="1"/>
            </a:grad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 name="Rectangle 58">
              <a:extLst>
                <a:ext uri="{FF2B5EF4-FFF2-40B4-BE49-F238E27FC236}">
                  <a16:creationId xmlns:a16="http://schemas.microsoft.com/office/drawing/2014/main" id="{7CDD9B25-3032-4FD3-BACB-9955779BD127}"/>
                </a:ext>
              </a:extLst>
            </p:cNvPr>
            <p:cNvSpPr>
              <a:spLocks noChangeArrowheads="1"/>
            </p:cNvSpPr>
            <p:nvPr userDrawn="1"/>
          </p:nvSpPr>
          <p:spPr bwMode="auto">
            <a:xfrm>
              <a:off x="0"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 name="Rectangle 59">
              <a:extLst>
                <a:ext uri="{FF2B5EF4-FFF2-40B4-BE49-F238E27FC236}">
                  <a16:creationId xmlns:a16="http://schemas.microsoft.com/office/drawing/2014/main" id="{B03A32E7-84FC-428F-A4A2-EC5084C21289}"/>
                </a:ext>
              </a:extLst>
            </p:cNvPr>
            <p:cNvSpPr>
              <a:spLocks noChangeArrowheads="1"/>
            </p:cNvSpPr>
            <p:nvPr userDrawn="1"/>
          </p:nvSpPr>
          <p:spPr bwMode="auto">
            <a:xfrm>
              <a:off x="288"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 name="Rectangle 60">
              <a:extLst>
                <a:ext uri="{FF2B5EF4-FFF2-40B4-BE49-F238E27FC236}">
                  <a16:creationId xmlns:a16="http://schemas.microsoft.com/office/drawing/2014/main" id="{8DC9DB99-995E-46F5-B346-1F65E20D969B}"/>
                </a:ext>
              </a:extLst>
            </p:cNvPr>
            <p:cNvSpPr>
              <a:spLocks noChangeArrowheads="1"/>
            </p:cNvSpPr>
            <p:nvPr userDrawn="1"/>
          </p:nvSpPr>
          <p:spPr bwMode="auto">
            <a:xfrm>
              <a:off x="576"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 name="Rectangle 61">
              <a:extLst>
                <a:ext uri="{FF2B5EF4-FFF2-40B4-BE49-F238E27FC236}">
                  <a16:creationId xmlns:a16="http://schemas.microsoft.com/office/drawing/2014/main" id="{8DD0E821-950E-477F-A72F-33DF07A012A3}"/>
                </a:ext>
              </a:extLst>
            </p:cNvPr>
            <p:cNvSpPr>
              <a:spLocks noChangeArrowheads="1"/>
            </p:cNvSpPr>
            <p:nvPr userDrawn="1"/>
          </p:nvSpPr>
          <p:spPr bwMode="auto">
            <a:xfrm>
              <a:off x="864"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 name="Rectangle 62">
              <a:extLst>
                <a:ext uri="{FF2B5EF4-FFF2-40B4-BE49-F238E27FC236}">
                  <a16:creationId xmlns:a16="http://schemas.microsoft.com/office/drawing/2014/main" id="{DB46F73F-CD20-442F-9294-263E24CD8AC1}"/>
                </a:ext>
              </a:extLst>
            </p:cNvPr>
            <p:cNvSpPr>
              <a:spLocks noChangeArrowheads="1"/>
            </p:cNvSpPr>
            <p:nvPr userDrawn="1"/>
          </p:nvSpPr>
          <p:spPr bwMode="auto">
            <a:xfrm>
              <a:off x="1152"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 name="Rectangle 63">
              <a:extLst>
                <a:ext uri="{FF2B5EF4-FFF2-40B4-BE49-F238E27FC236}">
                  <a16:creationId xmlns:a16="http://schemas.microsoft.com/office/drawing/2014/main" id="{147DA053-B525-4C95-B14F-16234ED18901}"/>
                </a:ext>
              </a:extLst>
            </p:cNvPr>
            <p:cNvSpPr>
              <a:spLocks noChangeArrowheads="1"/>
            </p:cNvSpPr>
            <p:nvPr userDrawn="1"/>
          </p:nvSpPr>
          <p:spPr bwMode="auto">
            <a:xfrm>
              <a:off x="1440"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 name="Rectangle 64">
              <a:extLst>
                <a:ext uri="{FF2B5EF4-FFF2-40B4-BE49-F238E27FC236}">
                  <a16:creationId xmlns:a16="http://schemas.microsoft.com/office/drawing/2014/main" id="{CA7CCF45-F897-48A4-8067-CFFE3743B2E5}"/>
                </a:ext>
              </a:extLst>
            </p:cNvPr>
            <p:cNvSpPr>
              <a:spLocks noChangeArrowheads="1"/>
            </p:cNvSpPr>
            <p:nvPr userDrawn="1"/>
          </p:nvSpPr>
          <p:spPr bwMode="auto">
            <a:xfrm>
              <a:off x="1728"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 name="Rectangle 65">
              <a:extLst>
                <a:ext uri="{FF2B5EF4-FFF2-40B4-BE49-F238E27FC236}">
                  <a16:creationId xmlns:a16="http://schemas.microsoft.com/office/drawing/2014/main" id="{9BED4401-7724-45AB-B4A5-79426D08D00D}"/>
                </a:ext>
              </a:extLst>
            </p:cNvPr>
            <p:cNvSpPr>
              <a:spLocks noChangeArrowheads="1"/>
            </p:cNvSpPr>
            <p:nvPr userDrawn="1"/>
          </p:nvSpPr>
          <p:spPr bwMode="auto">
            <a:xfrm>
              <a:off x="2016"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 name="Rectangle 66">
              <a:extLst>
                <a:ext uri="{FF2B5EF4-FFF2-40B4-BE49-F238E27FC236}">
                  <a16:creationId xmlns:a16="http://schemas.microsoft.com/office/drawing/2014/main" id="{F476AA93-42A2-4A6D-A003-FAD59D5933A3}"/>
                </a:ext>
              </a:extLst>
            </p:cNvPr>
            <p:cNvSpPr>
              <a:spLocks noChangeArrowheads="1"/>
            </p:cNvSpPr>
            <p:nvPr userDrawn="1"/>
          </p:nvSpPr>
          <p:spPr bwMode="auto">
            <a:xfrm>
              <a:off x="2304"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 name="Rectangle 67">
              <a:extLst>
                <a:ext uri="{FF2B5EF4-FFF2-40B4-BE49-F238E27FC236}">
                  <a16:creationId xmlns:a16="http://schemas.microsoft.com/office/drawing/2014/main" id="{1DBF0C19-A375-4BDD-A425-EB8DDE8ED73B}"/>
                </a:ext>
              </a:extLst>
            </p:cNvPr>
            <p:cNvSpPr>
              <a:spLocks noChangeArrowheads="1"/>
            </p:cNvSpPr>
            <p:nvPr userDrawn="1"/>
          </p:nvSpPr>
          <p:spPr bwMode="auto">
            <a:xfrm>
              <a:off x="2592"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 name="Rectangle 68">
              <a:extLst>
                <a:ext uri="{FF2B5EF4-FFF2-40B4-BE49-F238E27FC236}">
                  <a16:creationId xmlns:a16="http://schemas.microsoft.com/office/drawing/2014/main" id="{CE31EF69-3ED6-4FD2-81D7-0598313E5465}"/>
                </a:ext>
              </a:extLst>
            </p:cNvPr>
            <p:cNvSpPr>
              <a:spLocks noChangeArrowheads="1"/>
            </p:cNvSpPr>
            <p:nvPr userDrawn="1"/>
          </p:nvSpPr>
          <p:spPr bwMode="auto">
            <a:xfrm>
              <a:off x="2880"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 name="Rectangle 69">
              <a:extLst>
                <a:ext uri="{FF2B5EF4-FFF2-40B4-BE49-F238E27FC236}">
                  <a16:creationId xmlns:a16="http://schemas.microsoft.com/office/drawing/2014/main" id="{DB4F0388-552D-48DD-B08A-E77986E8C433}"/>
                </a:ext>
              </a:extLst>
            </p:cNvPr>
            <p:cNvSpPr>
              <a:spLocks noChangeArrowheads="1"/>
            </p:cNvSpPr>
            <p:nvPr userDrawn="1"/>
          </p:nvSpPr>
          <p:spPr bwMode="auto">
            <a:xfrm>
              <a:off x="3168"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 name="Rectangle 70">
              <a:extLst>
                <a:ext uri="{FF2B5EF4-FFF2-40B4-BE49-F238E27FC236}">
                  <a16:creationId xmlns:a16="http://schemas.microsoft.com/office/drawing/2014/main" id="{54F977D9-E322-43F6-9F67-66D12D0BAF28}"/>
                </a:ext>
              </a:extLst>
            </p:cNvPr>
            <p:cNvSpPr>
              <a:spLocks noChangeArrowheads="1"/>
            </p:cNvSpPr>
            <p:nvPr userDrawn="1"/>
          </p:nvSpPr>
          <p:spPr bwMode="auto">
            <a:xfrm>
              <a:off x="3456"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 name="Rectangle 71">
              <a:extLst>
                <a:ext uri="{FF2B5EF4-FFF2-40B4-BE49-F238E27FC236}">
                  <a16:creationId xmlns:a16="http://schemas.microsoft.com/office/drawing/2014/main" id="{4837C801-B0D2-4568-A6FC-6549D0EF4FD2}"/>
                </a:ext>
              </a:extLst>
            </p:cNvPr>
            <p:cNvSpPr>
              <a:spLocks noChangeArrowheads="1"/>
            </p:cNvSpPr>
            <p:nvPr userDrawn="1"/>
          </p:nvSpPr>
          <p:spPr bwMode="auto">
            <a:xfrm>
              <a:off x="3744"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 name="Rectangle 72">
              <a:extLst>
                <a:ext uri="{FF2B5EF4-FFF2-40B4-BE49-F238E27FC236}">
                  <a16:creationId xmlns:a16="http://schemas.microsoft.com/office/drawing/2014/main" id="{552B2AFE-CEB2-46A1-97D5-FD85931A544B}"/>
                </a:ext>
              </a:extLst>
            </p:cNvPr>
            <p:cNvSpPr>
              <a:spLocks noChangeArrowheads="1"/>
            </p:cNvSpPr>
            <p:nvPr userDrawn="1"/>
          </p:nvSpPr>
          <p:spPr bwMode="auto">
            <a:xfrm>
              <a:off x="4032"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 name="Rectangle 73">
              <a:extLst>
                <a:ext uri="{FF2B5EF4-FFF2-40B4-BE49-F238E27FC236}">
                  <a16:creationId xmlns:a16="http://schemas.microsoft.com/office/drawing/2014/main" id="{8D5402F9-F91B-4FEE-82F4-B62048255E0D}"/>
                </a:ext>
              </a:extLst>
            </p:cNvPr>
            <p:cNvSpPr>
              <a:spLocks noChangeArrowheads="1"/>
            </p:cNvSpPr>
            <p:nvPr userDrawn="1"/>
          </p:nvSpPr>
          <p:spPr bwMode="auto">
            <a:xfrm>
              <a:off x="4320"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 name="Rectangle 74">
              <a:extLst>
                <a:ext uri="{FF2B5EF4-FFF2-40B4-BE49-F238E27FC236}">
                  <a16:creationId xmlns:a16="http://schemas.microsoft.com/office/drawing/2014/main" id="{5C8B6535-E26D-4683-8A8D-6483DD725A97}"/>
                </a:ext>
              </a:extLst>
            </p:cNvPr>
            <p:cNvSpPr>
              <a:spLocks noChangeArrowheads="1"/>
            </p:cNvSpPr>
            <p:nvPr userDrawn="1"/>
          </p:nvSpPr>
          <p:spPr bwMode="auto">
            <a:xfrm>
              <a:off x="4608"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 name="Rectangle 75">
              <a:extLst>
                <a:ext uri="{FF2B5EF4-FFF2-40B4-BE49-F238E27FC236}">
                  <a16:creationId xmlns:a16="http://schemas.microsoft.com/office/drawing/2014/main" id="{3070AF81-0797-4C49-8678-A3281867FEC0}"/>
                </a:ext>
              </a:extLst>
            </p:cNvPr>
            <p:cNvSpPr>
              <a:spLocks noChangeArrowheads="1"/>
            </p:cNvSpPr>
            <p:nvPr userDrawn="1"/>
          </p:nvSpPr>
          <p:spPr bwMode="auto">
            <a:xfrm>
              <a:off x="4896"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 name="Rectangle 76">
              <a:extLst>
                <a:ext uri="{FF2B5EF4-FFF2-40B4-BE49-F238E27FC236}">
                  <a16:creationId xmlns:a16="http://schemas.microsoft.com/office/drawing/2014/main" id="{9F8A49A8-FA22-4A84-BC1C-6456440E7F01}"/>
                </a:ext>
              </a:extLst>
            </p:cNvPr>
            <p:cNvSpPr>
              <a:spLocks noChangeArrowheads="1"/>
            </p:cNvSpPr>
            <p:nvPr userDrawn="1"/>
          </p:nvSpPr>
          <p:spPr bwMode="auto">
            <a:xfrm>
              <a:off x="5184"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 name="Rectangle 77">
              <a:extLst>
                <a:ext uri="{FF2B5EF4-FFF2-40B4-BE49-F238E27FC236}">
                  <a16:creationId xmlns:a16="http://schemas.microsoft.com/office/drawing/2014/main" id="{D2116BB4-9424-4B87-A545-2C5FE327CBB6}"/>
                </a:ext>
              </a:extLst>
            </p:cNvPr>
            <p:cNvSpPr>
              <a:spLocks noChangeArrowheads="1"/>
            </p:cNvSpPr>
            <p:nvPr userDrawn="1"/>
          </p:nvSpPr>
          <p:spPr bwMode="auto">
            <a:xfrm>
              <a:off x="5472"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 name="Rectangle 79">
              <a:extLst>
                <a:ext uri="{FF2B5EF4-FFF2-40B4-BE49-F238E27FC236}">
                  <a16:creationId xmlns:a16="http://schemas.microsoft.com/office/drawing/2014/main" id="{11CF4BA1-DEB2-4D89-B414-664D8E2FF9B9}"/>
                </a:ext>
              </a:extLst>
            </p:cNvPr>
            <p:cNvSpPr>
              <a:spLocks noChangeArrowheads="1"/>
            </p:cNvSpPr>
            <p:nvPr userDrawn="1"/>
          </p:nvSpPr>
          <p:spPr bwMode="auto">
            <a:xfrm>
              <a:off x="0"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7" name="Rectangle 80">
              <a:extLst>
                <a:ext uri="{FF2B5EF4-FFF2-40B4-BE49-F238E27FC236}">
                  <a16:creationId xmlns:a16="http://schemas.microsoft.com/office/drawing/2014/main" id="{0229BFFE-FAEF-4789-AFE7-5076D531C3BE}"/>
                </a:ext>
              </a:extLst>
            </p:cNvPr>
            <p:cNvSpPr>
              <a:spLocks noChangeArrowheads="1"/>
            </p:cNvSpPr>
            <p:nvPr userDrawn="1"/>
          </p:nvSpPr>
          <p:spPr bwMode="auto">
            <a:xfrm>
              <a:off x="288"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8" name="Rectangle 81">
              <a:extLst>
                <a:ext uri="{FF2B5EF4-FFF2-40B4-BE49-F238E27FC236}">
                  <a16:creationId xmlns:a16="http://schemas.microsoft.com/office/drawing/2014/main" id="{DF2ECDF2-1B48-495A-B779-FFFE202D1973}"/>
                </a:ext>
              </a:extLst>
            </p:cNvPr>
            <p:cNvSpPr>
              <a:spLocks noChangeArrowheads="1"/>
            </p:cNvSpPr>
            <p:nvPr userDrawn="1"/>
          </p:nvSpPr>
          <p:spPr bwMode="auto">
            <a:xfrm>
              <a:off x="576"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9" name="Rectangle 82">
              <a:extLst>
                <a:ext uri="{FF2B5EF4-FFF2-40B4-BE49-F238E27FC236}">
                  <a16:creationId xmlns:a16="http://schemas.microsoft.com/office/drawing/2014/main" id="{85A0875C-026D-4A36-AC57-8E081B1A722E}"/>
                </a:ext>
              </a:extLst>
            </p:cNvPr>
            <p:cNvSpPr>
              <a:spLocks noChangeArrowheads="1"/>
            </p:cNvSpPr>
            <p:nvPr userDrawn="1"/>
          </p:nvSpPr>
          <p:spPr bwMode="auto">
            <a:xfrm>
              <a:off x="864"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0" name="Rectangle 83">
              <a:extLst>
                <a:ext uri="{FF2B5EF4-FFF2-40B4-BE49-F238E27FC236}">
                  <a16:creationId xmlns:a16="http://schemas.microsoft.com/office/drawing/2014/main" id="{11D3E2D3-CDC0-4BEB-AADC-480F56CF01E9}"/>
                </a:ext>
              </a:extLst>
            </p:cNvPr>
            <p:cNvSpPr>
              <a:spLocks noChangeArrowheads="1"/>
            </p:cNvSpPr>
            <p:nvPr userDrawn="1"/>
          </p:nvSpPr>
          <p:spPr bwMode="auto">
            <a:xfrm>
              <a:off x="1152"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1" name="Rectangle 84">
              <a:extLst>
                <a:ext uri="{FF2B5EF4-FFF2-40B4-BE49-F238E27FC236}">
                  <a16:creationId xmlns:a16="http://schemas.microsoft.com/office/drawing/2014/main" id="{E8EF272E-B3E2-4E16-B1E6-DD9B9FED86B0}"/>
                </a:ext>
              </a:extLst>
            </p:cNvPr>
            <p:cNvSpPr>
              <a:spLocks noChangeArrowheads="1"/>
            </p:cNvSpPr>
            <p:nvPr userDrawn="1"/>
          </p:nvSpPr>
          <p:spPr bwMode="auto">
            <a:xfrm>
              <a:off x="1440"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2" name="Rectangle 85">
              <a:extLst>
                <a:ext uri="{FF2B5EF4-FFF2-40B4-BE49-F238E27FC236}">
                  <a16:creationId xmlns:a16="http://schemas.microsoft.com/office/drawing/2014/main" id="{E3520CC9-2D67-4623-8ED4-ABEFFFFEC5EC}"/>
                </a:ext>
              </a:extLst>
            </p:cNvPr>
            <p:cNvSpPr>
              <a:spLocks noChangeArrowheads="1"/>
            </p:cNvSpPr>
            <p:nvPr userDrawn="1"/>
          </p:nvSpPr>
          <p:spPr bwMode="auto">
            <a:xfrm>
              <a:off x="1728"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3" name="Rectangle 86">
              <a:extLst>
                <a:ext uri="{FF2B5EF4-FFF2-40B4-BE49-F238E27FC236}">
                  <a16:creationId xmlns:a16="http://schemas.microsoft.com/office/drawing/2014/main" id="{AEDA7585-266A-4531-A68A-52310B81867D}"/>
                </a:ext>
              </a:extLst>
            </p:cNvPr>
            <p:cNvSpPr>
              <a:spLocks noChangeArrowheads="1"/>
            </p:cNvSpPr>
            <p:nvPr userDrawn="1"/>
          </p:nvSpPr>
          <p:spPr bwMode="auto">
            <a:xfrm>
              <a:off x="2016"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4" name="Rectangle 87">
              <a:extLst>
                <a:ext uri="{FF2B5EF4-FFF2-40B4-BE49-F238E27FC236}">
                  <a16:creationId xmlns:a16="http://schemas.microsoft.com/office/drawing/2014/main" id="{C7473995-ACF7-4A8F-8798-E34DEF2446C7}"/>
                </a:ext>
              </a:extLst>
            </p:cNvPr>
            <p:cNvSpPr>
              <a:spLocks noChangeArrowheads="1"/>
            </p:cNvSpPr>
            <p:nvPr userDrawn="1"/>
          </p:nvSpPr>
          <p:spPr bwMode="auto">
            <a:xfrm>
              <a:off x="2304"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5" name="Rectangle 88">
              <a:extLst>
                <a:ext uri="{FF2B5EF4-FFF2-40B4-BE49-F238E27FC236}">
                  <a16:creationId xmlns:a16="http://schemas.microsoft.com/office/drawing/2014/main" id="{45591220-3B78-4E7D-A21B-188921AD9E53}"/>
                </a:ext>
              </a:extLst>
            </p:cNvPr>
            <p:cNvSpPr>
              <a:spLocks noChangeArrowheads="1"/>
            </p:cNvSpPr>
            <p:nvPr userDrawn="1"/>
          </p:nvSpPr>
          <p:spPr bwMode="auto">
            <a:xfrm>
              <a:off x="2592"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6" name="Rectangle 89">
              <a:extLst>
                <a:ext uri="{FF2B5EF4-FFF2-40B4-BE49-F238E27FC236}">
                  <a16:creationId xmlns:a16="http://schemas.microsoft.com/office/drawing/2014/main" id="{6462499B-29A7-4073-885F-405990A1A900}"/>
                </a:ext>
              </a:extLst>
            </p:cNvPr>
            <p:cNvSpPr>
              <a:spLocks noChangeArrowheads="1"/>
            </p:cNvSpPr>
            <p:nvPr userDrawn="1"/>
          </p:nvSpPr>
          <p:spPr bwMode="auto">
            <a:xfrm>
              <a:off x="2880"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7" name="Rectangle 90">
              <a:extLst>
                <a:ext uri="{FF2B5EF4-FFF2-40B4-BE49-F238E27FC236}">
                  <a16:creationId xmlns:a16="http://schemas.microsoft.com/office/drawing/2014/main" id="{F7025AE8-878E-411A-A445-DB2796B7184E}"/>
                </a:ext>
              </a:extLst>
            </p:cNvPr>
            <p:cNvSpPr>
              <a:spLocks noChangeArrowheads="1"/>
            </p:cNvSpPr>
            <p:nvPr userDrawn="1"/>
          </p:nvSpPr>
          <p:spPr bwMode="auto">
            <a:xfrm>
              <a:off x="3168"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8" name="Rectangle 91">
              <a:extLst>
                <a:ext uri="{FF2B5EF4-FFF2-40B4-BE49-F238E27FC236}">
                  <a16:creationId xmlns:a16="http://schemas.microsoft.com/office/drawing/2014/main" id="{4033111C-CE9F-43F4-8CDF-8FAB42FA3350}"/>
                </a:ext>
              </a:extLst>
            </p:cNvPr>
            <p:cNvSpPr>
              <a:spLocks noChangeArrowheads="1"/>
            </p:cNvSpPr>
            <p:nvPr userDrawn="1"/>
          </p:nvSpPr>
          <p:spPr bwMode="auto">
            <a:xfrm>
              <a:off x="3456"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9" name="Rectangle 92">
              <a:extLst>
                <a:ext uri="{FF2B5EF4-FFF2-40B4-BE49-F238E27FC236}">
                  <a16:creationId xmlns:a16="http://schemas.microsoft.com/office/drawing/2014/main" id="{2A7D17B3-1EA9-485C-874B-80DF9DACC60C}"/>
                </a:ext>
              </a:extLst>
            </p:cNvPr>
            <p:cNvSpPr>
              <a:spLocks noChangeArrowheads="1"/>
            </p:cNvSpPr>
            <p:nvPr userDrawn="1"/>
          </p:nvSpPr>
          <p:spPr bwMode="auto">
            <a:xfrm>
              <a:off x="3744"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0" name="Rectangle 93">
              <a:extLst>
                <a:ext uri="{FF2B5EF4-FFF2-40B4-BE49-F238E27FC236}">
                  <a16:creationId xmlns:a16="http://schemas.microsoft.com/office/drawing/2014/main" id="{484194AD-74CA-476B-8C3D-C4FCA314516C}"/>
                </a:ext>
              </a:extLst>
            </p:cNvPr>
            <p:cNvSpPr>
              <a:spLocks noChangeArrowheads="1"/>
            </p:cNvSpPr>
            <p:nvPr userDrawn="1"/>
          </p:nvSpPr>
          <p:spPr bwMode="auto">
            <a:xfrm>
              <a:off x="4032"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1" name="Rectangle 94">
              <a:extLst>
                <a:ext uri="{FF2B5EF4-FFF2-40B4-BE49-F238E27FC236}">
                  <a16:creationId xmlns:a16="http://schemas.microsoft.com/office/drawing/2014/main" id="{B6244C8C-6509-494D-BD62-3A2C5DA78404}"/>
                </a:ext>
              </a:extLst>
            </p:cNvPr>
            <p:cNvSpPr>
              <a:spLocks noChangeArrowheads="1"/>
            </p:cNvSpPr>
            <p:nvPr userDrawn="1"/>
          </p:nvSpPr>
          <p:spPr bwMode="auto">
            <a:xfrm>
              <a:off x="4320"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2" name="Rectangle 95">
              <a:extLst>
                <a:ext uri="{FF2B5EF4-FFF2-40B4-BE49-F238E27FC236}">
                  <a16:creationId xmlns:a16="http://schemas.microsoft.com/office/drawing/2014/main" id="{D0415FC9-8FCC-4F26-8087-364D62F00E5E}"/>
                </a:ext>
              </a:extLst>
            </p:cNvPr>
            <p:cNvSpPr>
              <a:spLocks noChangeArrowheads="1"/>
            </p:cNvSpPr>
            <p:nvPr userDrawn="1"/>
          </p:nvSpPr>
          <p:spPr bwMode="auto">
            <a:xfrm>
              <a:off x="4608"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3" name="Rectangle 96">
              <a:extLst>
                <a:ext uri="{FF2B5EF4-FFF2-40B4-BE49-F238E27FC236}">
                  <a16:creationId xmlns:a16="http://schemas.microsoft.com/office/drawing/2014/main" id="{E6F7A35E-DB9B-4243-98E1-24F897EC2E23}"/>
                </a:ext>
              </a:extLst>
            </p:cNvPr>
            <p:cNvSpPr>
              <a:spLocks noChangeArrowheads="1"/>
            </p:cNvSpPr>
            <p:nvPr userDrawn="1"/>
          </p:nvSpPr>
          <p:spPr bwMode="auto">
            <a:xfrm>
              <a:off x="4896"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4" name="Rectangle 97">
              <a:extLst>
                <a:ext uri="{FF2B5EF4-FFF2-40B4-BE49-F238E27FC236}">
                  <a16:creationId xmlns:a16="http://schemas.microsoft.com/office/drawing/2014/main" id="{183C1221-026F-42FC-A63A-389CA877E4D1}"/>
                </a:ext>
              </a:extLst>
            </p:cNvPr>
            <p:cNvSpPr>
              <a:spLocks noChangeArrowheads="1"/>
            </p:cNvSpPr>
            <p:nvPr userDrawn="1"/>
          </p:nvSpPr>
          <p:spPr bwMode="auto">
            <a:xfrm>
              <a:off x="5184"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5" name="Rectangle 98">
              <a:extLst>
                <a:ext uri="{FF2B5EF4-FFF2-40B4-BE49-F238E27FC236}">
                  <a16:creationId xmlns:a16="http://schemas.microsoft.com/office/drawing/2014/main" id="{192B2DF0-1729-4704-8927-7F3BF5ECE7B7}"/>
                </a:ext>
              </a:extLst>
            </p:cNvPr>
            <p:cNvSpPr>
              <a:spLocks noChangeArrowheads="1"/>
            </p:cNvSpPr>
            <p:nvPr userDrawn="1"/>
          </p:nvSpPr>
          <p:spPr bwMode="auto">
            <a:xfrm>
              <a:off x="5472"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6" name="Rectangle 100">
              <a:extLst>
                <a:ext uri="{FF2B5EF4-FFF2-40B4-BE49-F238E27FC236}">
                  <a16:creationId xmlns:a16="http://schemas.microsoft.com/office/drawing/2014/main" id="{0719ECD9-1BFE-4DE5-83F6-AF2018C69854}"/>
                </a:ext>
              </a:extLst>
            </p:cNvPr>
            <p:cNvSpPr>
              <a:spLocks noChangeArrowheads="1"/>
            </p:cNvSpPr>
            <p:nvPr userDrawn="1"/>
          </p:nvSpPr>
          <p:spPr bwMode="auto">
            <a:xfrm>
              <a:off x="0"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7" name="Rectangle 101">
              <a:extLst>
                <a:ext uri="{FF2B5EF4-FFF2-40B4-BE49-F238E27FC236}">
                  <a16:creationId xmlns:a16="http://schemas.microsoft.com/office/drawing/2014/main" id="{0D5D45A4-A9C7-4219-BDFA-AA47E044D2A3}"/>
                </a:ext>
              </a:extLst>
            </p:cNvPr>
            <p:cNvSpPr>
              <a:spLocks noChangeArrowheads="1"/>
            </p:cNvSpPr>
            <p:nvPr userDrawn="1"/>
          </p:nvSpPr>
          <p:spPr bwMode="auto">
            <a:xfrm>
              <a:off x="288"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8" name="Rectangle 102">
              <a:extLst>
                <a:ext uri="{FF2B5EF4-FFF2-40B4-BE49-F238E27FC236}">
                  <a16:creationId xmlns:a16="http://schemas.microsoft.com/office/drawing/2014/main" id="{9693396A-5B16-4845-8F75-F707C99F5CFB}"/>
                </a:ext>
              </a:extLst>
            </p:cNvPr>
            <p:cNvSpPr>
              <a:spLocks noChangeArrowheads="1"/>
            </p:cNvSpPr>
            <p:nvPr userDrawn="1"/>
          </p:nvSpPr>
          <p:spPr bwMode="auto">
            <a:xfrm>
              <a:off x="576"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9" name="Rectangle 103">
              <a:extLst>
                <a:ext uri="{FF2B5EF4-FFF2-40B4-BE49-F238E27FC236}">
                  <a16:creationId xmlns:a16="http://schemas.microsoft.com/office/drawing/2014/main" id="{41DF9619-0B32-47E3-BF59-E13AEC9E6AE9}"/>
                </a:ext>
              </a:extLst>
            </p:cNvPr>
            <p:cNvSpPr>
              <a:spLocks noChangeArrowheads="1"/>
            </p:cNvSpPr>
            <p:nvPr userDrawn="1"/>
          </p:nvSpPr>
          <p:spPr bwMode="auto">
            <a:xfrm>
              <a:off x="864"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0" name="Rectangle 104">
              <a:extLst>
                <a:ext uri="{FF2B5EF4-FFF2-40B4-BE49-F238E27FC236}">
                  <a16:creationId xmlns:a16="http://schemas.microsoft.com/office/drawing/2014/main" id="{BB8E440A-4744-476C-86B7-D2424538E2DF}"/>
                </a:ext>
              </a:extLst>
            </p:cNvPr>
            <p:cNvSpPr>
              <a:spLocks noChangeArrowheads="1"/>
            </p:cNvSpPr>
            <p:nvPr userDrawn="1"/>
          </p:nvSpPr>
          <p:spPr bwMode="auto">
            <a:xfrm>
              <a:off x="1152"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1" name="Rectangle 105">
              <a:extLst>
                <a:ext uri="{FF2B5EF4-FFF2-40B4-BE49-F238E27FC236}">
                  <a16:creationId xmlns:a16="http://schemas.microsoft.com/office/drawing/2014/main" id="{A935700C-DBEA-475B-8162-D11AAA6D9165}"/>
                </a:ext>
              </a:extLst>
            </p:cNvPr>
            <p:cNvSpPr>
              <a:spLocks noChangeArrowheads="1"/>
            </p:cNvSpPr>
            <p:nvPr userDrawn="1"/>
          </p:nvSpPr>
          <p:spPr bwMode="auto">
            <a:xfrm>
              <a:off x="1440"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2" name="Rectangle 106">
              <a:extLst>
                <a:ext uri="{FF2B5EF4-FFF2-40B4-BE49-F238E27FC236}">
                  <a16:creationId xmlns:a16="http://schemas.microsoft.com/office/drawing/2014/main" id="{D73E8E74-3FED-476F-B16B-2B117A8F6BE8}"/>
                </a:ext>
              </a:extLst>
            </p:cNvPr>
            <p:cNvSpPr>
              <a:spLocks noChangeArrowheads="1"/>
            </p:cNvSpPr>
            <p:nvPr userDrawn="1"/>
          </p:nvSpPr>
          <p:spPr bwMode="auto">
            <a:xfrm>
              <a:off x="1728"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3" name="Rectangle 107">
              <a:extLst>
                <a:ext uri="{FF2B5EF4-FFF2-40B4-BE49-F238E27FC236}">
                  <a16:creationId xmlns:a16="http://schemas.microsoft.com/office/drawing/2014/main" id="{6A48C1DB-0197-4C6B-821D-F2A9C25DDC9D}"/>
                </a:ext>
              </a:extLst>
            </p:cNvPr>
            <p:cNvSpPr>
              <a:spLocks noChangeArrowheads="1"/>
            </p:cNvSpPr>
            <p:nvPr userDrawn="1"/>
          </p:nvSpPr>
          <p:spPr bwMode="auto">
            <a:xfrm>
              <a:off x="2016"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4" name="Rectangle 108">
              <a:extLst>
                <a:ext uri="{FF2B5EF4-FFF2-40B4-BE49-F238E27FC236}">
                  <a16:creationId xmlns:a16="http://schemas.microsoft.com/office/drawing/2014/main" id="{85AECC16-52B3-4E8A-9EA6-C501995A8929}"/>
                </a:ext>
              </a:extLst>
            </p:cNvPr>
            <p:cNvSpPr>
              <a:spLocks noChangeArrowheads="1"/>
            </p:cNvSpPr>
            <p:nvPr userDrawn="1"/>
          </p:nvSpPr>
          <p:spPr bwMode="auto">
            <a:xfrm>
              <a:off x="2304"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5" name="Rectangle 109">
              <a:extLst>
                <a:ext uri="{FF2B5EF4-FFF2-40B4-BE49-F238E27FC236}">
                  <a16:creationId xmlns:a16="http://schemas.microsoft.com/office/drawing/2014/main" id="{28078AF6-51A1-4C7B-8D07-60AE3D45BF5B}"/>
                </a:ext>
              </a:extLst>
            </p:cNvPr>
            <p:cNvSpPr>
              <a:spLocks noChangeArrowheads="1"/>
            </p:cNvSpPr>
            <p:nvPr userDrawn="1"/>
          </p:nvSpPr>
          <p:spPr bwMode="auto">
            <a:xfrm>
              <a:off x="2592"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6" name="Rectangle 110">
              <a:extLst>
                <a:ext uri="{FF2B5EF4-FFF2-40B4-BE49-F238E27FC236}">
                  <a16:creationId xmlns:a16="http://schemas.microsoft.com/office/drawing/2014/main" id="{9F0FA8AC-DE80-475A-9B8A-0081629FD687}"/>
                </a:ext>
              </a:extLst>
            </p:cNvPr>
            <p:cNvSpPr>
              <a:spLocks noChangeArrowheads="1"/>
            </p:cNvSpPr>
            <p:nvPr userDrawn="1"/>
          </p:nvSpPr>
          <p:spPr bwMode="auto">
            <a:xfrm>
              <a:off x="2880"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7" name="Rectangle 111">
              <a:extLst>
                <a:ext uri="{FF2B5EF4-FFF2-40B4-BE49-F238E27FC236}">
                  <a16:creationId xmlns:a16="http://schemas.microsoft.com/office/drawing/2014/main" id="{B8625CEF-FC14-4F5F-9C59-8D108FC7300E}"/>
                </a:ext>
              </a:extLst>
            </p:cNvPr>
            <p:cNvSpPr>
              <a:spLocks noChangeArrowheads="1"/>
            </p:cNvSpPr>
            <p:nvPr userDrawn="1"/>
          </p:nvSpPr>
          <p:spPr bwMode="auto">
            <a:xfrm>
              <a:off x="3168"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8" name="Rectangle 112">
              <a:extLst>
                <a:ext uri="{FF2B5EF4-FFF2-40B4-BE49-F238E27FC236}">
                  <a16:creationId xmlns:a16="http://schemas.microsoft.com/office/drawing/2014/main" id="{5F7259C3-2D56-41B2-8F46-975F8235390F}"/>
                </a:ext>
              </a:extLst>
            </p:cNvPr>
            <p:cNvSpPr>
              <a:spLocks noChangeArrowheads="1"/>
            </p:cNvSpPr>
            <p:nvPr userDrawn="1"/>
          </p:nvSpPr>
          <p:spPr bwMode="auto">
            <a:xfrm>
              <a:off x="3456"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9" name="Rectangle 113">
              <a:extLst>
                <a:ext uri="{FF2B5EF4-FFF2-40B4-BE49-F238E27FC236}">
                  <a16:creationId xmlns:a16="http://schemas.microsoft.com/office/drawing/2014/main" id="{D1EF9F19-A3DD-49E7-952D-1DFF5A54DCE2}"/>
                </a:ext>
              </a:extLst>
            </p:cNvPr>
            <p:cNvSpPr>
              <a:spLocks noChangeArrowheads="1"/>
            </p:cNvSpPr>
            <p:nvPr userDrawn="1"/>
          </p:nvSpPr>
          <p:spPr bwMode="auto">
            <a:xfrm>
              <a:off x="3744"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0" name="Rectangle 114">
              <a:extLst>
                <a:ext uri="{FF2B5EF4-FFF2-40B4-BE49-F238E27FC236}">
                  <a16:creationId xmlns:a16="http://schemas.microsoft.com/office/drawing/2014/main" id="{895EECA6-CB32-4DAB-BF71-9CB5B9658D0A}"/>
                </a:ext>
              </a:extLst>
            </p:cNvPr>
            <p:cNvSpPr>
              <a:spLocks noChangeArrowheads="1"/>
            </p:cNvSpPr>
            <p:nvPr userDrawn="1"/>
          </p:nvSpPr>
          <p:spPr bwMode="auto">
            <a:xfrm>
              <a:off x="4032"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1" name="Rectangle 115">
              <a:extLst>
                <a:ext uri="{FF2B5EF4-FFF2-40B4-BE49-F238E27FC236}">
                  <a16:creationId xmlns:a16="http://schemas.microsoft.com/office/drawing/2014/main" id="{ECD6AE29-0DD9-43E0-BC63-2F834BA2A440}"/>
                </a:ext>
              </a:extLst>
            </p:cNvPr>
            <p:cNvSpPr>
              <a:spLocks noChangeArrowheads="1"/>
            </p:cNvSpPr>
            <p:nvPr userDrawn="1"/>
          </p:nvSpPr>
          <p:spPr bwMode="auto">
            <a:xfrm>
              <a:off x="4320"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2" name="Rectangle 116">
              <a:extLst>
                <a:ext uri="{FF2B5EF4-FFF2-40B4-BE49-F238E27FC236}">
                  <a16:creationId xmlns:a16="http://schemas.microsoft.com/office/drawing/2014/main" id="{58BC46BF-0158-4B99-AFBD-2C43A73F2940}"/>
                </a:ext>
              </a:extLst>
            </p:cNvPr>
            <p:cNvSpPr>
              <a:spLocks noChangeArrowheads="1"/>
            </p:cNvSpPr>
            <p:nvPr userDrawn="1"/>
          </p:nvSpPr>
          <p:spPr bwMode="auto">
            <a:xfrm>
              <a:off x="4608"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3" name="Rectangle 117">
              <a:extLst>
                <a:ext uri="{FF2B5EF4-FFF2-40B4-BE49-F238E27FC236}">
                  <a16:creationId xmlns:a16="http://schemas.microsoft.com/office/drawing/2014/main" id="{7F37430C-32C8-47C0-9C25-154E76F73B84}"/>
                </a:ext>
              </a:extLst>
            </p:cNvPr>
            <p:cNvSpPr>
              <a:spLocks noChangeArrowheads="1"/>
            </p:cNvSpPr>
            <p:nvPr userDrawn="1"/>
          </p:nvSpPr>
          <p:spPr bwMode="auto">
            <a:xfrm>
              <a:off x="4896"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4" name="Rectangle 118">
              <a:extLst>
                <a:ext uri="{FF2B5EF4-FFF2-40B4-BE49-F238E27FC236}">
                  <a16:creationId xmlns:a16="http://schemas.microsoft.com/office/drawing/2014/main" id="{44E71EB1-3783-4AF5-9680-1AC4A0F6690E}"/>
                </a:ext>
              </a:extLst>
            </p:cNvPr>
            <p:cNvSpPr>
              <a:spLocks noChangeArrowheads="1"/>
            </p:cNvSpPr>
            <p:nvPr userDrawn="1"/>
          </p:nvSpPr>
          <p:spPr bwMode="auto">
            <a:xfrm>
              <a:off x="5184"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5" name="Rectangle 119">
              <a:extLst>
                <a:ext uri="{FF2B5EF4-FFF2-40B4-BE49-F238E27FC236}">
                  <a16:creationId xmlns:a16="http://schemas.microsoft.com/office/drawing/2014/main" id="{77E255D2-C67C-4571-BB61-0986C73F2F71}"/>
                </a:ext>
              </a:extLst>
            </p:cNvPr>
            <p:cNvSpPr>
              <a:spLocks noChangeArrowheads="1"/>
            </p:cNvSpPr>
            <p:nvPr userDrawn="1"/>
          </p:nvSpPr>
          <p:spPr bwMode="auto">
            <a:xfrm>
              <a:off x="5472"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6" name="Rectangle 121">
              <a:extLst>
                <a:ext uri="{FF2B5EF4-FFF2-40B4-BE49-F238E27FC236}">
                  <a16:creationId xmlns:a16="http://schemas.microsoft.com/office/drawing/2014/main" id="{4F807FC0-7E08-4666-8938-AD2855C07CD0}"/>
                </a:ext>
              </a:extLst>
            </p:cNvPr>
            <p:cNvSpPr>
              <a:spLocks noChangeArrowheads="1"/>
            </p:cNvSpPr>
            <p:nvPr userDrawn="1"/>
          </p:nvSpPr>
          <p:spPr bwMode="auto">
            <a:xfrm>
              <a:off x="0"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7" name="Rectangle 122">
              <a:extLst>
                <a:ext uri="{FF2B5EF4-FFF2-40B4-BE49-F238E27FC236}">
                  <a16:creationId xmlns:a16="http://schemas.microsoft.com/office/drawing/2014/main" id="{C1FBC52A-F000-41E4-B8FA-8C4C7B77A407}"/>
                </a:ext>
              </a:extLst>
            </p:cNvPr>
            <p:cNvSpPr>
              <a:spLocks noChangeArrowheads="1"/>
            </p:cNvSpPr>
            <p:nvPr userDrawn="1"/>
          </p:nvSpPr>
          <p:spPr bwMode="auto">
            <a:xfrm>
              <a:off x="288"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8" name="Rectangle 123">
              <a:extLst>
                <a:ext uri="{FF2B5EF4-FFF2-40B4-BE49-F238E27FC236}">
                  <a16:creationId xmlns:a16="http://schemas.microsoft.com/office/drawing/2014/main" id="{F05F4858-3D64-4C4D-BF6C-E39004122DCA}"/>
                </a:ext>
              </a:extLst>
            </p:cNvPr>
            <p:cNvSpPr>
              <a:spLocks noChangeArrowheads="1"/>
            </p:cNvSpPr>
            <p:nvPr userDrawn="1"/>
          </p:nvSpPr>
          <p:spPr bwMode="auto">
            <a:xfrm>
              <a:off x="576"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9" name="Rectangle 124">
              <a:extLst>
                <a:ext uri="{FF2B5EF4-FFF2-40B4-BE49-F238E27FC236}">
                  <a16:creationId xmlns:a16="http://schemas.microsoft.com/office/drawing/2014/main" id="{9D0AEC8E-4BDF-4C27-A703-31CD17B14027}"/>
                </a:ext>
              </a:extLst>
            </p:cNvPr>
            <p:cNvSpPr>
              <a:spLocks noChangeArrowheads="1"/>
            </p:cNvSpPr>
            <p:nvPr userDrawn="1"/>
          </p:nvSpPr>
          <p:spPr bwMode="auto">
            <a:xfrm>
              <a:off x="864"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0" name="Rectangle 125">
              <a:extLst>
                <a:ext uri="{FF2B5EF4-FFF2-40B4-BE49-F238E27FC236}">
                  <a16:creationId xmlns:a16="http://schemas.microsoft.com/office/drawing/2014/main" id="{525A19E3-6996-45C8-B3DB-8F32D5122CB2}"/>
                </a:ext>
              </a:extLst>
            </p:cNvPr>
            <p:cNvSpPr>
              <a:spLocks noChangeArrowheads="1"/>
            </p:cNvSpPr>
            <p:nvPr userDrawn="1"/>
          </p:nvSpPr>
          <p:spPr bwMode="auto">
            <a:xfrm>
              <a:off x="1152"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1" name="Rectangle 126">
              <a:extLst>
                <a:ext uri="{FF2B5EF4-FFF2-40B4-BE49-F238E27FC236}">
                  <a16:creationId xmlns:a16="http://schemas.microsoft.com/office/drawing/2014/main" id="{00BED751-83A5-4036-BBFA-98E95FD0276A}"/>
                </a:ext>
              </a:extLst>
            </p:cNvPr>
            <p:cNvSpPr>
              <a:spLocks noChangeArrowheads="1"/>
            </p:cNvSpPr>
            <p:nvPr userDrawn="1"/>
          </p:nvSpPr>
          <p:spPr bwMode="auto">
            <a:xfrm>
              <a:off x="1440"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2" name="Rectangle 127">
              <a:extLst>
                <a:ext uri="{FF2B5EF4-FFF2-40B4-BE49-F238E27FC236}">
                  <a16:creationId xmlns:a16="http://schemas.microsoft.com/office/drawing/2014/main" id="{ADC101E6-6A57-4A95-8D13-6762D9046CC0}"/>
                </a:ext>
              </a:extLst>
            </p:cNvPr>
            <p:cNvSpPr>
              <a:spLocks noChangeArrowheads="1"/>
            </p:cNvSpPr>
            <p:nvPr userDrawn="1"/>
          </p:nvSpPr>
          <p:spPr bwMode="auto">
            <a:xfrm>
              <a:off x="1728"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3" name="Rectangle 128">
              <a:extLst>
                <a:ext uri="{FF2B5EF4-FFF2-40B4-BE49-F238E27FC236}">
                  <a16:creationId xmlns:a16="http://schemas.microsoft.com/office/drawing/2014/main" id="{BF25BDA5-CE4A-4FDE-AB69-EEB8423F6038}"/>
                </a:ext>
              </a:extLst>
            </p:cNvPr>
            <p:cNvSpPr>
              <a:spLocks noChangeArrowheads="1"/>
            </p:cNvSpPr>
            <p:nvPr userDrawn="1"/>
          </p:nvSpPr>
          <p:spPr bwMode="auto">
            <a:xfrm>
              <a:off x="2016"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4" name="Rectangle 129">
              <a:extLst>
                <a:ext uri="{FF2B5EF4-FFF2-40B4-BE49-F238E27FC236}">
                  <a16:creationId xmlns:a16="http://schemas.microsoft.com/office/drawing/2014/main" id="{DBA43EDB-9969-48DE-9AB6-103C76D34B76}"/>
                </a:ext>
              </a:extLst>
            </p:cNvPr>
            <p:cNvSpPr>
              <a:spLocks noChangeArrowheads="1"/>
            </p:cNvSpPr>
            <p:nvPr userDrawn="1"/>
          </p:nvSpPr>
          <p:spPr bwMode="auto">
            <a:xfrm>
              <a:off x="2304"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5" name="Rectangle 130">
              <a:extLst>
                <a:ext uri="{FF2B5EF4-FFF2-40B4-BE49-F238E27FC236}">
                  <a16:creationId xmlns:a16="http://schemas.microsoft.com/office/drawing/2014/main" id="{5581129E-2E1A-48B0-89FC-380FB9D1C5D5}"/>
                </a:ext>
              </a:extLst>
            </p:cNvPr>
            <p:cNvSpPr>
              <a:spLocks noChangeArrowheads="1"/>
            </p:cNvSpPr>
            <p:nvPr userDrawn="1"/>
          </p:nvSpPr>
          <p:spPr bwMode="auto">
            <a:xfrm>
              <a:off x="2592"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6" name="Rectangle 131">
              <a:extLst>
                <a:ext uri="{FF2B5EF4-FFF2-40B4-BE49-F238E27FC236}">
                  <a16:creationId xmlns:a16="http://schemas.microsoft.com/office/drawing/2014/main" id="{22FEDAEF-8C1C-48E3-9B13-A08F03F1F21C}"/>
                </a:ext>
              </a:extLst>
            </p:cNvPr>
            <p:cNvSpPr>
              <a:spLocks noChangeArrowheads="1"/>
            </p:cNvSpPr>
            <p:nvPr userDrawn="1"/>
          </p:nvSpPr>
          <p:spPr bwMode="auto">
            <a:xfrm>
              <a:off x="2880"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7" name="Rectangle 132">
              <a:extLst>
                <a:ext uri="{FF2B5EF4-FFF2-40B4-BE49-F238E27FC236}">
                  <a16:creationId xmlns:a16="http://schemas.microsoft.com/office/drawing/2014/main" id="{D15C4242-1E33-4AA0-8F4A-2DC3997F7C49}"/>
                </a:ext>
              </a:extLst>
            </p:cNvPr>
            <p:cNvSpPr>
              <a:spLocks noChangeArrowheads="1"/>
            </p:cNvSpPr>
            <p:nvPr userDrawn="1"/>
          </p:nvSpPr>
          <p:spPr bwMode="auto">
            <a:xfrm>
              <a:off x="3168"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8" name="Rectangle 133">
              <a:extLst>
                <a:ext uri="{FF2B5EF4-FFF2-40B4-BE49-F238E27FC236}">
                  <a16:creationId xmlns:a16="http://schemas.microsoft.com/office/drawing/2014/main" id="{9662BC94-5119-4A26-B977-C194C8A493B1}"/>
                </a:ext>
              </a:extLst>
            </p:cNvPr>
            <p:cNvSpPr>
              <a:spLocks noChangeArrowheads="1"/>
            </p:cNvSpPr>
            <p:nvPr userDrawn="1"/>
          </p:nvSpPr>
          <p:spPr bwMode="auto">
            <a:xfrm>
              <a:off x="3456"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9" name="Rectangle 134">
              <a:extLst>
                <a:ext uri="{FF2B5EF4-FFF2-40B4-BE49-F238E27FC236}">
                  <a16:creationId xmlns:a16="http://schemas.microsoft.com/office/drawing/2014/main" id="{258DE3D7-25CA-4FA2-A28D-B41B03F22FBF}"/>
                </a:ext>
              </a:extLst>
            </p:cNvPr>
            <p:cNvSpPr>
              <a:spLocks noChangeArrowheads="1"/>
            </p:cNvSpPr>
            <p:nvPr userDrawn="1"/>
          </p:nvSpPr>
          <p:spPr bwMode="auto">
            <a:xfrm>
              <a:off x="3744"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0" name="Rectangle 135">
              <a:extLst>
                <a:ext uri="{FF2B5EF4-FFF2-40B4-BE49-F238E27FC236}">
                  <a16:creationId xmlns:a16="http://schemas.microsoft.com/office/drawing/2014/main" id="{93750070-B6F8-4E8C-9215-0FEFF41EBB0D}"/>
                </a:ext>
              </a:extLst>
            </p:cNvPr>
            <p:cNvSpPr>
              <a:spLocks noChangeArrowheads="1"/>
            </p:cNvSpPr>
            <p:nvPr userDrawn="1"/>
          </p:nvSpPr>
          <p:spPr bwMode="auto">
            <a:xfrm>
              <a:off x="4032"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1" name="Rectangle 136">
              <a:extLst>
                <a:ext uri="{FF2B5EF4-FFF2-40B4-BE49-F238E27FC236}">
                  <a16:creationId xmlns:a16="http://schemas.microsoft.com/office/drawing/2014/main" id="{E1E667E7-1950-4EB2-A578-EEBB35E7163E}"/>
                </a:ext>
              </a:extLst>
            </p:cNvPr>
            <p:cNvSpPr>
              <a:spLocks noChangeArrowheads="1"/>
            </p:cNvSpPr>
            <p:nvPr userDrawn="1"/>
          </p:nvSpPr>
          <p:spPr bwMode="auto">
            <a:xfrm>
              <a:off x="4320"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2" name="Rectangle 137">
              <a:extLst>
                <a:ext uri="{FF2B5EF4-FFF2-40B4-BE49-F238E27FC236}">
                  <a16:creationId xmlns:a16="http://schemas.microsoft.com/office/drawing/2014/main" id="{B7764001-7625-46CE-B1CC-BDB8DA314AFA}"/>
                </a:ext>
              </a:extLst>
            </p:cNvPr>
            <p:cNvSpPr>
              <a:spLocks noChangeArrowheads="1"/>
            </p:cNvSpPr>
            <p:nvPr userDrawn="1"/>
          </p:nvSpPr>
          <p:spPr bwMode="auto">
            <a:xfrm>
              <a:off x="4608"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3" name="Rectangle 138">
              <a:extLst>
                <a:ext uri="{FF2B5EF4-FFF2-40B4-BE49-F238E27FC236}">
                  <a16:creationId xmlns:a16="http://schemas.microsoft.com/office/drawing/2014/main" id="{B98720DA-55BD-4E05-9079-A055A60EE1A7}"/>
                </a:ext>
              </a:extLst>
            </p:cNvPr>
            <p:cNvSpPr>
              <a:spLocks noChangeArrowheads="1"/>
            </p:cNvSpPr>
            <p:nvPr userDrawn="1"/>
          </p:nvSpPr>
          <p:spPr bwMode="auto">
            <a:xfrm>
              <a:off x="4896"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4" name="Rectangle 139">
              <a:extLst>
                <a:ext uri="{FF2B5EF4-FFF2-40B4-BE49-F238E27FC236}">
                  <a16:creationId xmlns:a16="http://schemas.microsoft.com/office/drawing/2014/main" id="{C0522F48-AB4B-4B35-B8E1-F93F40E9091F}"/>
                </a:ext>
              </a:extLst>
            </p:cNvPr>
            <p:cNvSpPr>
              <a:spLocks noChangeArrowheads="1"/>
            </p:cNvSpPr>
            <p:nvPr userDrawn="1"/>
          </p:nvSpPr>
          <p:spPr bwMode="auto">
            <a:xfrm>
              <a:off x="5184"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5" name="Rectangle 140">
              <a:extLst>
                <a:ext uri="{FF2B5EF4-FFF2-40B4-BE49-F238E27FC236}">
                  <a16:creationId xmlns:a16="http://schemas.microsoft.com/office/drawing/2014/main" id="{CB988D68-6FAB-4A6B-9DC9-AFCDDE6B2EBF}"/>
                </a:ext>
              </a:extLst>
            </p:cNvPr>
            <p:cNvSpPr>
              <a:spLocks noChangeArrowheads="1"/>
            </p:cNvSpPr>
            <p:nvPr userDrawn="1"/>
          </p:nvSpPr>
          <p:spPr bwMode="auto">
            <a:xfrm>
              <a:off x="5472"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6" name="Rectangle 142">
              <a:extLst>
                <a:ext uri="{FF2B5EF4-FFF2-40B4-BE49-F238E27FC236}">
                  <a16:creationId xmlns:a16="http://schemas.microsoft.com/office/drawing/2014/main" id="{28C5E9B0-8C06-4F82-A788-94ED4ABDF3A2}"/>
                </a:ext>
              </a:extLst>
            </p:cNvPr>
            <p:cNvSpPr>
              <a:spLocks noChangeArrowheads="1"/>
            </p:cNvSpPr>
            <p:nvPr userDrawn="1"/>
          </p:nvSpPr>
          <p:spPr bwMode="auto">
            <a:xfrm>
              <a:off x="0"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7" name="Rectangle 143">
              <a:extLst>
                <a:ext uri="{FF2B5EF4-FFF2-40B4-BE49-F238E27FC236}">
                  <a16:creationId xmlns:a16="http://schemas.microsoft.com/office/drawing/2014/main" id="{8A1BF588-0819-4035-9393-93BBA4DE9E7C}"/>
                </a:ext>
              </a:extLst>
            </p:cNvPr>
            <p:cNvSpPr>
              <a:spLocks noChangeArrowheads="1"/>
            </p:cNvSpPr>
            <p:nvPr userDrawn="1"/>
          </p:nvSpPr>
          <p:spPr bwMode="auto">
            <a:xfrm>
              <a:off x="288"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8" name="Rectangle 144">
              <a:extLst>
                <a:ext uri="{FF2B5EF4-FFF2-40B4-BE49-F238E27FC236}">
                  <a16:creationId xmlns:a16="http://schemas.microsoft.com/office/drawing/2014/main" id="{6B1C5B96-23A7-46DC-8B0A-D5DBAF8E3936}"/>
                </a:ext>
              </a:extLst>
            </p:cNvPr>
            <p:cNvSpPr>
              <a:spLocks noChangeArrowheads="1"/>
            </p:cNvSpPr>
            <p:nvPr userDrawn="1"/>
          </p:nvSpPr>
          <p:spPr bwMode="auto">
            <a:xfrm>
              <a:off x="576"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9" name="Rectangle 145">
              <a:extLst>
                <a:ext uri="{FF2B5EF4-FFF2-40B4-BE49-F238E27FC236}">
                  <a16:creationId xmlns:a16="http://schemas.microsoft.com/office/drawing/2014/main" id="{5BEA52C8-6A43-4648-98C0-37797A83062C}"/>
                </a:ext>
              </a:extLst>
            </p:cNvPr>
            <p:cNvSpPr>
              <a:spLocks noChangeArrowheads="1"/>
            </p:cNvSpPr>
            <p:nvPr userDrawn="1"/>
          </p:nvSpPr>
          <p:spPr bwMode="auto">
            <a:xfrm>
              <a:off x="864"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0" name="Rectangle 146">
              <a:extLst>
                <a:ext uri="{FF2B5EF4-FFF2-40B4-BE49-F238E27FC236}">
                  <a16:creationId xmlns:a16="http://schemas.microsoft.com/office/drawing/2014/main" id="{5F671900-49FD-4900-B926-0A6FABA205CD}"/>
                </a:ext>
              </a:extLst>
            </p:cNvPr>
            <p:cNvSpPr>
              <a:spLocks noChangeArrowheads="1"/>
            </p:cNvSpPr>
            <p:nvPr userDrawn="1"/>
          </p:nvSpPr>
          <p:spPr bwMode="auto">
            <a:xfrm>
              <a:off x="1152"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1" name="Rectangle 147">
              <a:extLst>
                <a:ext uri="{FF2B5EF4-FFF2-40B4-BE49-F238E27FC236}">
                  <a16:creationId xmlns:a16="http://schemas.microsoft.com/office/drawing/2014/main" id="{7E5ED619-73B0-4FD1-B158-D69E28FC4CEE}"/>
                </a:ext>
              </a:extLst>
            </p:cNvPr>
            <p:cNvSpPr>
              <a:spLocks noChangeArrowheads="1"/>
            </p:cNvSpPr>
            <p:nvPr userDrawn="1"/>
          </p:nvSpPr>
          <p:spPr bwMode="auto">
            <a:xfrm>
              <a:off x="1440"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2" name="Rectangle 148">
              <a:extLst>
                <a:ext uri="{FF2B5EF4-FFF2-40B4-BE49-F238E27FC236}">
                  <a16:creationId xmlns:a16="http://schemas.microsoft.com/office/drawing/2014/main" id="{8665E4D4-4318-45B8-9D8C-0AFDF5D7AB03}"/>
                </a:ext>
              </a:extLst>
            </p:cNvPr>
            <p:cNvSpPr>
              <a:spLocks noChangeArrowheads="1"/>
            </p:cNvSpPr>
            <p:nvPr userDrawn="1"/>
          </p:nvSpPr>
          <p:spPr bwMode="auto">
            <a:xfrm>
              <a:off x="1728"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3" name="Rectangle 149">
              <a:extLst>
                <a:ext uri="{FF2B5EF4-FFF2-40B4-BE49-F238E27FC236}">
                  <a16:creationId xmlns:a16="http://schemas.microsoft.com/office/drawing/2014/main" id="{B94DEC7D-8B77-42E4-9C2B-5CB749DC4F0A}"/>
                </a:ext>
              </a:extLst>
            </p:cNvPr>
            <p:cNvSpPr>
              <a:spLocks noChangeArrowheads="1"/>
            </p:cNvSpPr>
            <p:nvPr userDrawn="1"/>
          </p:nvSpPr>
          <p:spPr bwMode="auto">
            <a:xfrm>
              <a:off x="2016"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4" name="Rectangle 150">
              <a:extLst>
                <a:ext uri="{FF2B5EF4-FFF2-40B4-BE49-F238E27FC236}">
                  <a16:creationId xmlns:a16="http://schemas.microsoft.com/office/drawing/2014/main" id="{E69873DE-D806-4F6C-8D54-226A8DD5471B}"/>
                </a:ext>
              </a:extLst>
            </p:cNvPr>
            <p:cNvSpPr>
              <a:spLocks noChangeArrowheads="1"/>
            </p:cNvSpPr>
            <p:nvPr userDrawn="1"/>
          </p:nvSpPr>
          <p:spPr bwMode="auto">
            <a:xfrm>
              <a:off x="2304"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5" name="Rectangle 151">
              <a:extLst>
                <a:ext uri="{FF2B5EF4-FFF2-40B4-BE49-F238E27FC236}">
                  <a16:creationId xmlns:a16="http://schemas.microsoft.com/office/drawing/2014/main" id="{DF59DFA9-2892-4CBA-9B74-783F727F11FE}"/>
                </a:ext>
              </a:extLst>
            </p:cNvPr>
            <p:cNvSpPr>
              <a:spLocks noChangeArrowheads="1"/>
            </p:cNvSpPr>
            <p:nvPr userDrawn="1"/>
          </p:nvSpPr>
          <p:spPr bwMode="auto">
            <a:xfrm>
              <a:off x="2592"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6" name="Rectangle 152">
              <a:extLst>
                <a:ext uri="{FF2B5EF4-FFF2-40B4-BE49-F238E27FC236}">
                  <a16:creationId xmlns:a16="http://schemas.microsoft.com/office/drawing/2014/main" id="{30AD8638-4A88-4353-BBD2-51F915DAF110}"/>
                </a:ext>
              </a:extLst>
            </p:cNvPr>
            <p:cNvSpPr>
              <a:spLocks noChangeArrowheads="1"/>
            </p:cNvSpPr>
            <p:nvPr userDrawn="1"/>
          </p:nvSpPr>
          <p:spPr bwMode="auto">
            <a:xfrm>
              <a:off x="2880"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7" name="Rectangle 153">
              <a:extLst>
                <a:ext uri="{FF2B5EF4-FFF2-40B4-BE49-F238E27FC236}">
                  <a16:creationId xmlns:a16="http://schemas.microsoft.com/office/drawing/2014/main" id="{116ABC64-9BFF-4910-B9FD-18976A78AE70}"/>
                </a:ext>
              </a:extLst>
            </p:cNvPr>
            <p:cNvSpPr>
              <a:spLocks noChangeArrowheads="1"/>
            </p:cNvSpPr>
            <p:nvPr userDrawn="1"/>
          </p:nvSpPr>
          <p:spPr bwMode="auto">
            <a:xfrm>
              <a:off x="3168"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8" name="Rectangle 154">
              <a:extLst>
                <a:ext uri="{FF2B5EF4-FFF2-40B4-BE49-F238E27FC236}">
                  <a16:creationId xmlns:a16="http://schemas.microsoft.com/office/drawing/2014/main" id="{4BB5AEB3-01D4-4530-BF5A-33D2A9188F41}"/>
                </a:ext>
              </a:extLst>
            </p:cNvPr>
            <p:cNvSpPr>
              <a:spLocks noChangeArrowheads="1"/>
            </p:cNvSpPr>
            <p:nvPr userDrawn="1"/>
          </p:nvSpPr>
          <p:spPr bwMode="auto">
            <a:xfrm>
              <a:off x="3456"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9" name="Rectangle 155">
              <a:extLst>
                <a:ext uri="{FF2B5EF4-FFF2-40B4-BE49-F238E27FC236}">
                  <a16:creationId xmlns:a16="http://schemas.microsoft.com/office/drawing/2014/main" id="{1C5AE07A-B679-4164-987F-2299D94E27C6}"/>
                </a:ext>
              </a:extLst>
            </p:cNvPr>
            <p:cNvSpPr>
              <a:spLocks noChangeArrowheads="1"/>
            </p:cNvSpPr>
            <p:nvPr userDrawn="1"/>
          </p:nvSpPr>
          <p:spPr bwMode="auto">
            <a:xfrm>
              <a:off x="3744"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0" name="Rectangle 156">
              <a:extLst>
                <a:ext uri="{FF2B5EF4-FFF2-40B4-BE49-F238E27FC236}">
                  <a16:creationId xmlns:a16="http://schemas.microsoft.com/office/drawing/2014/main" id="{85A4EB66-6A4E-415B-93D3-54F677A64F8E}"/>
                </a:ext>
              </a:extLst>
            </p:cNvPr>
            <p:cNvSpPr>
              <a:spLocks noChangeArrowheads="1"/>
            </p:cNvSpPr>
            <p:nvPr userDrawn="1"/>
          </p:nvSpPr>
          <p:spPr bwMode="auto">
            <a:xfrm>
              <a:off x="4032"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1" name="Rectangle 157">
              <a:extLst>
                <a:ext uri="{FF2B5EF4-FFF2-40B4-BE49-F238E27FC236}">
                  <a16:creationId xmlns:a16="http://schemas.microsoft.com/office/drawing/2014/main" id="{CBBA5E7E-8DDA-49A3-A464-698D17AC7D87}"/>
                </a:ext>
              </a:extLst>
            </p:cNvPr>
            <p:cNvSpPr>
              <a:spLocks noChangeArrowheads="1"/>
            </p:cNvSpPr>
            <p:nvPr userDrawn="1"/>
          </p:nvSpPr>
          <p:spPr bwMode="auto">
            <a:xfrm>
              <a:off x="4320"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2" name="Rectangle 158">
              <a:extLst>
                <a:ext uri="{FF2B5EF4-FFF2-40B4-BE49-F238E27FC236}">
                  <a16:creationId xmlns:a16="http://schemas.microsoft.com/office/drawing/2014/main" id="{11AC45CF-2CE5-41EB-8060-E67552E89C02}"/>
                </a:ext>
              </a:extLst>
            </p:cNvPr>
            <p:cNvSpPr>
              <a:spLocks noChangeArrowheads="1"/>
            </p:cNvSpPr>
            <p:nvPr userDrawn="1"/>
          </p:nvSpPr>
          <p:spPr bwMode="auto">
            <a:xfrm>
              <a:off x="4608"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 name="Rectangle 159">
              <a:extLst>
                <a:ext uri="{FF2B5EF4-FFF2-40B4-BE49-F238E27FC236}">
                  <a16:creationId xmlns:a16="http://schemas.microsoft.com/office/drawing/2014/main" id="{6E6DEFBD-C4B0-45EF-93F3-4B0DFF6CE472}"/>
                </a:ext>
              </a:extLst>
            </p:cNvPr>
            <p:cNvSpPr>
              <a:spLocks noChangeArrowheads="1"/>
            </p:cNvSpPr>
            <p:nvPr userDrawn="1"/>
          </p:nvSpPr>
          <p:spPr bwMode="auto">
            <a:xfrm>
              <a:off x="4896"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4" name="Rectangle 160">
              <a:extLst>
                <a:ext uri="{FF2B5EF4-FFF2-40B4-BE49-F238E27FC236}">
                  <a16:creationId xmlns:a16="http://schemas.microsoft.com/office/drawing/2014/main" id="{60DA2F4D-2D32-4D1C-B3FE-C514A1662DB6}"/>
                </a:ext>
              </a:extLst>
            </p:cNvPr>
            <p:cNvSpPr>
              <a:spLocks noChangeArrowheads="1"/>
            </p:cNvSpPr>
            <p:nvPr userDrawn="1"/>
          </p:nvSpPr>
          <p:spPr bwMode="auto">
            <a:xfrm>
              <a:off x="5184"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5" name="Rectangle 161">
              <a:extLst>
                <a:ext uri="{FF2B5EF4-FFF2-40B4-BE49-F238E27FC236}">
                  <a16:creationId xmlns:a16="http://schemas.microsoft.com/office/drawing/2014/main" id="{AD8D85B7-F615-401A-9785-DA8233BC5C1C}"/>
                </a:ext>
              </a:extLst>
            </p:cNvPr>
            <p:cNvSpPr>
              <a:spLocks noChangeArrowheads="1"/>
            </p:cNvSpPr>
            <p:nvPr userDrawn="1"/>
          </p:nvSpPr>
          <p:spPr bwMode="auto">
            <a:xfrm>
              <a:off x="5472"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6" name="Rectangle 163">
              <a:extLst>
                <a:ext uri="{FF2B5EF4-FFF2-40B4-BE49-F238E27FC236}">
                  <a16:creationId xmlns:a16="http://schemas.microsoft.com/office/drawing/2014/main" id="{EB716FF6-CEA1-413B-9D42-4C488B2E1B42}"/>
                </a:ext>
              </a:extLst>
            </p:cNvPr>
            <p:cNvSpPr>
              <a:spLocks noChangeArrowheads="1"/>
            </p:cNvSpPr>
            <p:nvPr userDrawn="1"/>
          </p:nvSpPr>
          <p:spPr bwMode="auto">
            <a:xfrm>
              <a:off x="0"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7" name="Rectangle 164">
              <a:extLst>
                <a:ext uri="{FF2B5EF4-FFF2-40B4-BE49-F238E27FC236}">
                  <a16:creationId xmlns:a16="http://schemas.microsoft.com/office/drawing/2014/main" id="{16F3E95B-954E-4859-8830-105D91BB2B0C}"/>
                </a:ext>
              </a:extLst>
            </p:cNvPr>
            <p:cNvSpPr>
              <a:spLocks noChangeArrowheads="1"/>
            </p:cNvSpPr>
            <p:nvPr userDrawn="1"/>
          </p:nvSpPr>
          <p:spPr bwMode="auto">
            <a:xfrm>
              <a:off x="288"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8" name="Rectangle 165">
              <a:extLst>
                <a:ext uri="{FF2B5EF4-FFF2-40B4-BE49-F238E27FC236}">
                  <a16:creationId xmlns:a16="http://schemas.microsoft.com/office/drawing/2014/main" id="{9BA31FEB-E899-4BAE-9D88-B8FCBCC67563}"/>
                </a:ext>
              </a:extLst>
            </p:cNvPr>
            <p:cNvSpPr>
              <a:spLocks noChangeArrowheads="1"/>
            </p:cNvSpPr>
            <p:nvPr userDrawn="1"/>
          </p:nvSpPr>
          <p:spPr bwMode="auto">
            <a:xfrm>
              <a:off x="576"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9" name="Rectangle 166">
              <a:extLst>
                <a:ext uri="{FF2B5EF4-FFF2-40B4-BE49-F238E27FC236}">
                  <a16:creationId xmlns:a16="http://schemas.microsoft.com/office/drawing/2014/main" id="{FEA9AB7F-0A33-48F3-B492-EE85AFCE8891}"/>
                </a:ext>
              </a:extLst>
            </p:cNvPr>
            <p:cNvSpPr>
              <a:spLocks noChangeArrowheads="1"/>
            </p:cNvSpPr>
            <p:nvPr userDrawn="1"/>
          </p:nvSpPr>
          <p:spPr bwMode="auto">
            <a:xfrm>
              <a:off x="864"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0" name="Rectangle 167">
              <a:extLst>
                <a:ext uri="{FF2B5EF4-FFF2-40B4-BE49-F238E27FC236}">
                  <a16:creationId xmlns:a16="http://schemas.microsoft.com/office/drawing/2014/main" id="{8DBB05AF-BC43-4307-BFE7-1BD60C6DB5C8}"/>
                </a:ext>
              </a:extLst>
            </p:cNvPr>
            <p:cNvSpPr>
              <a:spLocks noChangeArrowheads="1"/>
            </p:cNvSpPr>
            <p:nvPr userDrawn="1"/>
          </p:nvSpPr>
          <p:spPr bwMode="auto">
            <a:xfrm>
              <a:off x="1152"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1" name="Rectangle 168">
              <a:extLst>
                <a:ext uri="{FF2B5EF4-FFF2-40B4-BE49-F238E27FC236}">
                  <a16:creationId xmlns:a16="http://schemas.microsoft.com/office/drawing/2014/main" id="{F5AEF452-37A5-4B45-9FC2-F2B0420F5A47}"/>
                </a:ext>
              </a:extLst>
            </p:cNvPr>
            <p:cNvSpPr>
              <a:spLocks noChangeArrowheads="1"/>
            </p:cNvSpPr>
            <p:nvPr userDrawn="1"/>
          </p:nvSpPr>
          <p:spPr bwMode="auto">
            <a:xfrm>
              <a:off x="1440"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2" name="Rectangle 169">
              <a:extLst>
                <a:ext uri="{FF2B5EF4-FFF2-40B4-BE49-F238E27FC236}">
                  <a16:creationId xmlns:a16="http://schemas.microsoft.com/office/drawing/2014/main" id="{7CEDE6AC-FC20-43A2-AFE0-DF84964D7110}"/>
                </a:ext>
              </a:extLst>
            </p:cNvPr>
            <p:cNvSpPr>
              <a:spLocks noChangeArrowheads="1"/>
            </p:cNvSpPr>
            <p:nvPr userDrawn="1"/>
          </p:nvSpPr>
          <p:spPr bwMode="auto">
            <a:xfrm>
              <a:off x="1728"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3" name="Rectangle 170">
              <a:extLst>
                <a:ext uri="{FF2B5EF4-FFF2-40B4-BE49-F238E27FC236}">
                  <a16:creationId xmlns:a16="http://schemas.microsoft.com/office/drawing/2014/main" id="{7F51AE2B-6458-4C1B-A044-07AEEABD4E44}"/>
                </a:ext>
              </a:extLst>
            </p:cNvPr>
            <p:cNvSpPr>
              <a:spLocks noChangeArrowheads="1"/>
            </p:cNvSpPr>
            <p:nvPr userDrawn="1"/>
          </p:nvSpPr>
          <p:spPr bwMode="auto">
            <a:xfrm>
              <a:off x="2016"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4" name="Rectangle 171">
              <a:extLst>
                <a:ext uri="{FF2B5EF4-FFF2-40B4-BE49-F238E27FC236}">
                  <a16:creationId xmlns:a16="http://schemas.microsoft.com/office/drawing/2014/main" id="{8AC52F53-D56A-44FB-9792-F0C90B869BD2}"/>
                </a:ext>
              </a:extLst>
            </p:cNvPr>
            <p:cNvSpPr>
              <a:spLocks noChangeArrowheads="1"/>
            </p:cNvSpPr>
            <p:nvPr userDrawn="1"/>
          </p:nvSpPr>
          <p:spPr bwMode="auto">
            <a:xfrm>
              <a:off x="2304"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5" name="Rectangle 172">
              <a:extLst>
                <a:ext uri="{FF2B5EF4-FFF2-40B4-BE49-F238E27FC236}">
                  <a16:creationId xmlns:a16="http://schemas.microsoft.com/office/drawing/2014/main" id="{4424578A-5D7F-4E10-B4D5-6095852828C3}"/>
                </a:ext>
              </a:extLst>
            </p:cNvPr>
            <p:cNvSpPr>
              <a:spLocks noChangeArrowheads="1"/>
            </p:cNvSpPr>
            <p:nvPr userDrawn="1"/>
          </p:nvSpPr>
          <p:spPr bwMode="auto">
            <a:xfrm>
              <a:off x="2592"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6" name="Rectangle 173">
              <a:extLst>
                <a:ext uri="{FF2B5EF4-FFF2-40B4-BE49-F238E27FC236}">
                  <a16:creationId xmlns:a16="http://schemas.microsoft.com/office/drawing/2014/main" id="{34F46EC6-6A6A-46D2-A96A-CBF46E6068AB}"/>
                </a:ext>
              </a:extLst>
            </p:cNvPr>
            <p:cNvSpPr>
              <a:spLocks noChangeArrowheads="1"/>
            </p:cNvSpPr>
            <p:nvPr userDrawn="1"/>
          </p:nvSpPr>
          <p:spPr bwMode="auto">
            <a:xfrm>
              <a:off x="2880"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7" name="Rectangle 174">
              <a:extLst>
                <a:ext uri="{FF2B5EF4-FFF2-40B4-BE49-F238E27FC236}">
                  <a16:creationId xmlns:a16="http://schemas.microsoft.com/office/drawing/2014/main" id="{2D58FD51-CAA0-4F8D-B676-E73FE4EDAB9B}"/>
                </a:ext>
              </a:extLst>
            </p:cNvPr>
            <p:cNvSpPr>
              <a:spLocks noChangeArrowheads="1"/>
            </p:cNvSpPr>
            <p:nvPr userDrawn="1"/>
          </p:nvSpPr>
          <p:spPr bwMode="auto">
            <a:xfrm>
              <a:off x="3168"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8" name="Rectangle 175">
              <a:extLst>
                <a:ext uri="{FF2B5EF4-FFF2-40B4-BE49-F238E27FC236}">
                  <a16:creationId xmlns:a16="http://schemas.microsoft.com/office/drawing/2014/main" id="{621CDD47-7DB2-493A-BF08-2C27762E3F84}"/>
                </a:ext>
              </a:extLst>
            </p:cNvPr>
            <p:cNvSpPr>
              <a:spLocks noChangeArrowheads="1"/>
            </p:cNvSpPr>
            <p:nvPr userDrawn="1"/>
          </p:nvSpPr>
          <p:spPr bwMode="auto">
            <a:xfrm>
              <a:off x="3456"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9" name="Rectangle 176">
              <a:extLst>
                <a:ext uri="{FF2B5EF4-FFF2-40B4-BE49-F238E27FC236}">
                  <a16:creationId xmlns:a16="http://schemas.microsoft.com/office/drawing/2014/main" id="{96EE9F2D-927A-4D1E-A0A3-34E93AA6EEB9}"/>
                </a:ext>
              </a:extLst>
            </p:cNvPr>
            <p:cNvSpPr>
              <a:spLocks noChangeArrowheads="1"/>
            </p:cNvSpPr>
            <p:nvPr userDrawn="1"/>
          </p:nvSpPr>
          <p:spPr bwMode="auto">
            <a:xfrm>
              <a:off x="3744"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0" name="Rectangle 177">
              <a:extLst>
                <a:ext uri="{FF2B5EF4-FFF2-40B4-BE49-F238E27FC236}">
                  <a16:creationId xmlns:a16="http://schemas.microsoft.com/office/drawing/2014/main" id="{20FFD7A2-189F-4462-98B1-7F3E2103A0AC}"/>
                </a:ext>
              </a:extLst>
            </p:cNvPr>
            <p:cNvSpPr>
              <a:spLocks noChangeArrowheads="1"/>
            </p:cNvSpPr>
            <p:nvPr userDrawn="1"/>
          </p:nvSpPr>
          <p:spPr bwMode="auto">
            <a:xfrm>
              <a:off x="4032"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1" name="Rectangle 178">
              <a:extLst>
                <a:ext uri="{FF2B5EF4-FFF2-40B4-BE49-F238E27FC236}">
                  <a16:creationId xmlns:a16="http://schemas.microsoft.com/office/drawing/2014/main" id="{87CD610C-5EA4-409E-8BB0-CEBA7D662529}"/>
                </a:ext>
              </a:extLst>
            </p:cNvPr>
            <p:cNvSpPr>
              <a:spLocks noChangeArrowheads="1"/>
            </p:cNvSpPr>
            <p:nvPr userDrawn="1"/>
          </p:nvSpPr>
          <p:spPr bwMode="auto">
            <a:xfrm>
              <a:off x="4320"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2" name="Rectangle 179">
              <a:extLst>
                <a:ext uri="{FF2B5EF4-FFF2-40B4-BE49-F238E27FC236}">
                  <a16:creationId xmlns:a16="http://schemas.microsoft.com/office/drawing/2014/main" id="{AD1580EE-54D0-4B60-91EA-784C73E57137}"/>
                </a:ext>
              </a:extLst>
            </p:cNvPr>
            <p:cNvSpPr>
              <a:spLocks noChangeArrowheads="1"/>
            </p:cNvSpPr>
            <p:nvPr userDrawn="1"/>
          </p:nvSpPr>
          <p:spPr bwMode="auto">
            <a:xfrm>
              <a:off x="4608"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3" name="Rectangle 180">
              <a:extLst>
                <a:ext uri="{FF2B5EF4-FFF2-40B4-BE49-F238E27FC236}">
                  <a16:creationId xmlns:a16="http://schemas.microsoft.com/office/drawing/2014/main" id="{5E2932B9-79D6-4099-9E99-C05BC89376F6}"/>
                </a:ext>
              </a:extLst>
            </p:cNvPr>
            <p:cNvSpPr>
              <a:spLocks noChangeArrowheads="1"/>
            </p:cNvSpPr>
            <p:nvPr userDrawn="1"/>
          </p:nvSpPr>
          <p:spPr bwMode="auto">
            <a:xfrm>
              <a:off x="4896"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4" name="Rectangle 181">
              <a:extLst>
                <a:ext uri="{FF2B5EF4-FFF2-40B4-BE49-F238E27FC236}">
                  <a16:creationId xmlns:a16="http://schemas.microsoft.com/office/drawing/2014/main" id="{D26F8BD2-E586-42F7-A69A-B5B3524C8C8D}"/>
                </a:ext>
              </a:extLst>
            </p:cNvPr>
            <p:cNvSpPr>
              <a:spLocks noChangeArrowheads="1"/>
            </p:cNvSpPr>
            <p:nvPr userDrawn="1"/>
          </p:nvSpPr>
          <p:spPr bwMode="auto">
            <a:xfrm>
              <a:off x="5184"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5" name="Rectangle 182">
              <a:extLst>
                <a:ext uri="{FF2B5EF4-FFF2-40B4-BE49-F238E27FC236}">
                  <a16:creationId xmlns:a16="http://schemas.microsoft.com/office/drawing/2014/main" id="{D661153E-E11F-4D19-A67C-FA886ACA6639}"/>
                </a:ext>
              </a:extLst>
            </p:cNvPr>
            <p:cNvSpPr>
              <a:spLocks noChangeArrowheads="1"/>
            </p:cNvSpPr>
            <p:nvPr userDrawn="1"/>
          </p:nvSpPr>
          <p:spPr bwMode="auto">
            <a:xfrm>
              <a:off x="5472"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6" name="Rectangle 184">
              <a:extLst>
                <a:ext uri="{FF2B5EF4-FFF2-40B4-BE49-F238E27FC236}">
                  <a16:creationId xmlns:a16="http://schemas.microsoft.com/office/drawing/2014/main" id="{A31C57EA-803A-4821-B285-857E235E92F0}"/>
                </a:ext>
              </a:extLst>
            </p:cNvPr>
            <p:cNvSpPr>
              <a:spLocks noChangeArrowheads="1"/>
            </p:cNvSpPr>
            <p:nvPr userDrawn="1"/>
          </p:nvSpPr>
          <p:spPr bwMode="auto">
            <a:xfrm>
              <a:off x="0"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7" name="Rectangle 185">
              <a:extLst>
                <a:ext uri="{FF2B5EF4-FFF2-40B4-BE49-F238E27FC236}">
                  <a16:creationId xmlns:a16="http://schemas.microsoft.com/office/drawing/2014/main" id="{1BBE2F00-AB39-4D20-89F0-00611EB64548}"/>
                </a:ext>
              </a:extLst>
            </p:cNvPr>
            <p:cNvSpPr>
              <a:spLocks noChangeArrowheads="1"/>
            </p:cNvSpPr>
            <p:nvPr userDrawn="1"/>
          </p:nvSpPr>
          <p:spPr bwMode="auto">
            <a:xfrm>
              <a:off x="288"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8" name="Rectangle 186">
              <a:extLst>
                <a:ext uri="{FF2B5EF4-FFF2-40B4-BE49-F238E27FC236}">
                  <a16:creationId xmlns:a16="http://schemas.microsoft.com/office/drawing/2014/main" id="{D858F663-4271-4FF2-9E58-4D0FC4C8966C}"/>
                </a:ext>
              </a:extLst>
            </p:cNvPr>
            <p:cNvSpPr>
              <a:spLocks noChangeArrowheads="1"/>
            </p:cNvSpPr>
            <p:nvPr userDrawn="1"/>
          </p:nvSpPr>
          <p:spPr bwMode="auto">
            <a:xfrm>
              <a:off x="576"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9" name="Rectangle 187">
              <a:extLst>
                <a:ext uri="{FF2B5EF4-FFF2-40B4-BE49-F238E27FC236}">
                  <a16:creationId xmlns:a16="http://schemas.microsoft.com/office/drawing/2014/main" id="{A4E1D9DC-5ADE-4908-9ED6-C419D6245412}"/>
                </a:ext>
              </a:extLst>
            </p:cNvPr>
            <p:cNvSpPr>
              <a:spLocks noChangeArrowheads="1"/>
            </p:cNvSpPr>
            <p:nvPr userDrawn="1"/>
          </p:nvSpPr>
          <p:spPr bwMode="auto">
            <a:xfrm>
              <a:off x="864"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0" name="Rectangle 188">
              <a:extLst>
                <a:ext uri="{FF2B5EF4-FFF2-40B4-BE49-F238E27FC236}">
                  <a16:creationId xmlns:a16="http://schemas.microsoft.com/office/drawing/2014/main" id="{8BF0F788-B512-40AE-AE7B-8B9B44AFCDDC}"/>
                </a:ext>
              </a:extLst>
            </p:cNvPr>
            <p:cNvSpPr>
              <a:spLocks noChangeArrowheads="1"/>
            </p:cNvSpPr>
            <p:nvPr userDrawn="1"/>
          </p:nvSpPr>
          <p:spPr bwMode="auto">
            <a:xfrm>
              <a:off x="1152"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1" name="Rectangle 189">
              <a:extLst>
                <a:ext uri="{FF2B5EF4-FFF2-40B4-BE49-F238E27FC236}">
                  <a16:creationId xmlns:a16="http://schemas.microsoft.com/office/drawing/2014/main" id="{22C5ACBD-6BCB-4DAE-BFF9-4207D3DD37BA}"/>
                </a:ext>
              </a:extLst>
            </p:cNvPr>
            <p:cNvSpPr>
              <a:spLocks noChangeArrowheads="1"/>
            </p:cNvSpPr>
            <p:nvPr userDrawn="1"/>
          </p:nvSpPr>
          <p:spPr bwMode="auto">
            <a:xfrm>
              <a:off x="1440"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2" name="Rectangle 190">
              <a:extLst>
                <a:ext uri="{FF2B5EF4-FFF2-40B4-BE49-F238E27FC236}">
                  <a16:creationId xmlns:a16="http://schemas.microsoft.com/office/drawing/2014/main" id="{78BD5009-E0ED-4A71-9186-C09E99F04A5D}"/>
                </a:ext>
              </a:extLst>
            </p:cNvPr>
            <p:cNvSpPr>
              <a:spLocks noChangeArrowheads="1"/>
            </p:cNvSpPr>
            <p:nvPr userDrawn="1"/>
          </p:nvSpPr>
          <p:spPr bwMode="auto">
            <a:xfrm>
              <a:off x="1728"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3" name="Rectangle 191">
              <a:extLst>
                <a:ext uri="{FF2B5EF4-FFF2-40B4-BE49-F238E27FC236}">
                  <a16:creationId xmlns:a16="http://schemas.microsoft.com/office/drawing/2014/main" id="{A7AF5D32-3866-4DBB-9EA1-F842BCC30D63}"/>
                </a:ext>
              </a:extLst>
            </p:cNvPr>
            <p:cNvSpPr>
              <a:spLocks noChangeArrowheads="1"/>
            </p:cNvSpPr>
            <p:nvPr userDrawn="1"/>
          </p:nvSpPr>
          <p:spPr bwMode="auto">
            <a:xfrm>
              <a:off x="2016"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4" name="Rectangle 192">
              <a:extLst>
                <a:ext uri="{FF2B5EF4-FFF2-40B4-BE49-F238E27FC236}">
                  <a16:creationId xmlns:a16="http://schemas.microsoft.com/office/drawing/2014/main" id="{7FC8C42A-9405-4AD4-ADF3-4F0EDBBEF7EE}"/>
                </a:ext>
              </a:extLst>
            </p:cNvPr>
            <p:cNvSpPr>
              <a:spLocks noChangeArrowheads="1"/>
            </p:cNvSpPr>
            <p:nvPr userDrawn="1"/>
          </p:nvSpPr>
          <p:spPr bwMode="auto">
            <a:xfrm>
              <a:off x="2304"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5" name="Rectangle 193">
              <a:extLst>
                <a:ext uri="{FF2B5EF4-FFF2-40B4-BE49-F238E27FC236}">
                  <a16:creationId xmlns:a16="http://schemas.microsoft.com/office/drawing/2014/main" id="{7493EFED-DDF0-4443-B7AB-1B7E361B521B}"/>
                </a:ext>
              </a:extLst>
            </p:cNvPr>
            <p:cNvSpPr>
              <a:spLocks noChangeArrowheads="1"/>
            </p:cNvSpPr>
            <p:nvPr userDrawn="1"/>
          </p:nvSpPr>
          <p:spPr bwMode="auto">
            <a:xfrm>
              <a:off x="2592"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6" name="Rectangle 194">
              <a:extLst>
                <a:ext uri="{FF2B5EF4-FFF2-40B4-BE49-F238E27FC236}">
                  <a16:creationId xmlns:a16="http://schemas.microsoft.com/office/drawing/2014/main" id="{72DFC969-8718-4871-96C4-FEAC25A22F22}"/>
                </a:ext>
              </a:extLst>
            </p:cNvPr>
            <p:cNvSpPr>
              <a:spLocks noChangeArrowheads="1"/>
            </p:cNvSpPr>
            <p:nvPr userDrawn="1"/>
          </p:nvSpPr>
          <p:spPr bwMode="auto">
            <a:xfrm>
              <a:off x="2880"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7" name="Rectangle 195">
              <a:extLst>
                <a:ext uri="{FF2B5EF4-FFF2-40B4-BE49-F238E27FC236}">
                  <a16:creationId xmlns:a16="http://schemas.microsoft.com/office/drawing/2014/main" id="{88C921C9-5EC7-4DD2-933E-1665C6FDF2A1}"/>
                </a:ext>
              </a:extLst>
            </p:cNvPr>
            <p:cNvSpPr>
              <a:spLocks noChangeArrowheads="1"/>
            </p:cNvSpPr>
            <p:nvPr userDrawn="1"/>
          </p:nvSpPr>
          <p:spPr bwMode="auto">
            <a:xfrm>
              <a:off x="3168"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8" name="Rectangle 196">
              <a:extLst>
                <a:ext uri="{FF2B5EF4-FFF2-40B4-BE49-F238E27FC236}">
                  <a16:creationId xmlns:a16="http://schemas.microsoft.com/office/drawing/2014/main" id="{9FD46387-4BE9-4297-8FC2-4E6BAA39C7C1}"/>
                </a:ext>
              </a:extLst>
            </p:cNvPr>
            <p:cNvSpPr>
              <a:spLocks noChangeArrowheads="1"/>
            </p:cNvSpPr>
            <p:nvPr userDrawn="1"/>
          </p:nvSpPr>
          <p:spPr bwMode="auto">
            <a:xfrm>
              <a:off x="3456"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9" name="Rectangle 197">
              <a:extLst>
                <a:ext uri="{FF2B5EF4-FFF2-40B4-BE49-F238E27FC236}">
                  <a16:creationId xmlns:a16="http://schemas.microsoft.com/office/drawing/2014/main" id="{35450458-E27D-401D-8DE4-5975DE6CD1E4}"/>
                </a:ext>
              </a:extLst>
            </p:cNvPr>
            <p:cNvSpPr>
              <a:spLocks noChangeArrowheads="1"/>
            </p:cNvSpPr>
            <p:nvPr userDrawn="1"/>
          </p:nvSpPr>
          <p:spPr bwMode="auto">
            <a:xfrm>
              <a:off x="3744"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0" name="Rectangle 198">
              <a:extLst>
                <a:ext uri="{FF2B5EF4-FFF2-40B4-BE49-F238E27FC236}">
                  <a16:creationId xmlns:a16="http://schemas.microsoft.com/office/drawing/2014/main" id="{A4D34878-2D66-4226-AE35-08C2B8A336B4}"/>
                </a:ext>
              </a:extLst>
            </p:cNvPr>
            <p:cNvSpPr>
              <a:spLocks noChangeArrowheads="1"/>
            </p:cNvSpPr>
            <p:nvPr userDrawn="1"/>
          </p:nvSpPr>
          <p:spPr bwMode="auto">
            <a:xfrm>
              <a:off x="4032"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1" name="Rectangle 199">
              <a:extLst>
                <a:ext uri="{FF2B5EF4-FFF2-40B4-BE49-F238E27FC236}">
                  <a16:creationId xmlns:a16="http://schemas.microsoft.com/office/drawing/2014/main" id="{79A492E1-D9A4-4F0B-A6E5-B5A27F11DCA0}"/>
                </a:ext>
              </a:extLst>
            </p:cNvPr>
            <p:cNvSpPr>
              <a:spLocks noChangeArrowheads="1"/>
            </p:cNvSpPr>
            <p:nvPr userDrawn="1"/>
          </p:nvSpPr>
          <p:spPr bwMode="auto">
            <a:xfrm>
              <a:off x="4320"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2" name="Rectangle 200">
              <a:extLst>
                <a:ext uri="{FF2B5EF4-FFF2-40B4-BE49-F238E27FC236}">
                  <a16:creationId xmlns:a16="http://schemas.microsoft.com/office/drawing/2014/main" id="{5912AD34-21D5-48F6-85F9-A9965A5FA9D5}"/>
                </a:ext>
              </a:extLst>
            </p:cNvPr>
            <p:cNvSpPr>
              <a:spLocks noChangeArrowheads="1"/>
            </p:cNvSpPr>
            <p:nvPr userDrawn="1"/>
          </p:nvSpPr>
          <p:spPr bwMode="auto">
            <a:xfrm>
              <a:off x="4608"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3" name="Rectangle 201">
              <a:extLst>
                <a:ext uri="{FF2B5EF4-FFF2-40B4-BE49-F238E27FC236}">
                  <a16:creationId xmlns:a16="http://schemas.microsoft.com/office/drawing/2014/main" id="{01D33304-F04B-404D-919D-11E9DB5D4B53}"/>
                </a:ext>
              </a:extLst>
            </p:cNvPr>
            <p:cNvSpPr>
              <a:spLocks noChangeArrowheads="1"/>
            </p:cNvSpPr>
            <p:nvPr userDrawn="1"/>
          </p:nvSpPr>
          <p:spPr bwMode="auto">
            <a:xfrm>
              <a:off x="4896"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4" name="Rectangle 202">
              <a:extLst>
                <a:ext uri="{FF2B5EF4-FFF2-40B4-BE49-F238E27FC236}">
                  <a16:creationId xmlns:a16="http://schemas.microsoft.com/office/drawing/2014/main" id="{8FC36388-2FB3-4BD6-9D1C-6CCEBD6A660A}"/>
                </a:ext>
              </a:extLst>
            </p:cNvPr>
            <p:cNvSpPr>
              <a:spLocks noChangeArrowheads="1"/>
            </p:cNvSpPr>
            <p:nvPr userDrawn="1"/>
          </p:nvSpPr>
          <p:spPr bwMode="auto">
            <a:xfrm>
              <a:off x="5184"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5" name="Rectangle 203">
              <a:extLst>
                <a:ext uri="{FF2B5EF4-FFF2-40B4-BE49-F238E27FC236}">
                  <a16:creationId xmlns:a16="http://schemas.microsoft.com/office/drawing/2014/main" id="{5F9B4A6F-A5B3-44F9-A5ED-756F154A48C4}"/>
                </a:ext>
              </a:extLst>
            </p:cNvPr>
            <p:cNvSpPr>
              <a:spLocks noChangeArrowheads="1"/>
            </p:cNvSpPr>
            <p:nvPr userDrawn="1"/>
          </p:nvSpPr>
          <p:spPr bwMode="auto">
            <a:xfrm>
              <a:off x="5472"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6" name="Rectangle 205">
              <a:extLst>
                <a:ext uri="{FF2B5EF4-FFF2-40B4-BE49-F238E27FC236}">
                  <a16:creationId xmlns:a16="http://schemas.microsoft.com/office/drawing/2014/main" id="{F03C8EA6-5489-49D4-9D0E-D3A120A6BC68}"/>
                </a:ext>
              </a:extLst>
            </p:cNvPr>
            <p:cNvSpPr>
              <a:spLocks noChangeArrowheads="1"/>
            </p:cNvSpPr>
            <p:nvPr userDrawn="1"/>
          </p:nvSpPr>
          <p:spPr bwMode="auto">
            <a:xfrm>
              <a:off x="0"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7" name="Rectangle 206">
              <a:extLst>
                <a:ext uri="{FF2B5EF4-FFF2-40B4-BE49-F238E27FC236}">
                  <a16:creationId xmlns:a16="http://schemas.microsoft.com/office/drawing/2014/main" id="{FA67D1C8-2381-4486-9FC5-027E4B1F3B27}"/>
                </a:ext>
              </a:extLst>
            </p:cNvPr>
            <p:cNvSpPr>
              <a:spLocks noChangeArrowheads="1"/>
            </p:cNvSpPr>
            <p:nvPr userDrawn="1"/>
          </p:nvSpPr>
          <p:spPr bwMode="auto">
            <a:xfrm>
              <a:off x="288"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8" name="Rectangle 207">
              <a:extLst>
                <a:ext uri="{FF2B5EF4-FFF2-40B4-BE49-F238E27FC236}">
                  <a16:creationId xmlns:a16="http://schemas.microsoft.com/office/drawing/2014/main" id="{552BA5A3-124B-439F-AF92-A94EABBD8387}"/>
                </a:ext>
              </a:extLst>
            </p:cNvPr>
            <p:cNvSpPr>
              <a:spLocks noChangeArrowheads="1"/>
            </p:cNvSpPr>
            <p:nvPr userDrawn="1"/>
          </p:nvSpPr>
          <p:spPr bwMode="auto">
            <a:xfrm>
              <a:off x="576"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9" name="Rectangle 208">
              <a:extLst>
                <a:ext uri="{FF2B5EF4-FFF2-40B4-BE49-F238E27FC236}">
                  <a16:creationId xmlns:a16="http://schemas.microsoft.com/office/drawing/2014/main" id="{9591B207-524A-4DA6-92C8-0330B8CE634B}"/>
                </a:ext>
              </a:extLst>
            </p:cNvPr>
            <p:cNvSpPr>
              <a:spLocks noChangeArrowheads="1"/>
            </p:cNvSpPr>
            <p:nvPr userDrawn="1"/>
          </p:nvSpPr>
          <p:spPr bwMode="auto">
            <a:xfrm>
              <a:off x="864"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0" name="Rectangle 209">
              <a:extLst>
                <a:ext uri="{FF2B5EF4-FFF2-40B4-BE49-F238E27FC236}">
                  <a16:creationId xmlns:a16="http://schemas.microsoft.com/office/drawing/2014/main" id="{F6DEC664-6C58-453F-9A12-A65A702F4297}"/>
                </a:ext>
              </a:extLst>
            </p:cNvPr>
            <p:cNvSpPr>
              <a:spLocks noChangeArrowheads="1"/>
            </p:cNvSpPr>
            <p:nvPr userDrawn="1"/>
          </p:nvSpPr>
          <p:spPr bwMode="auto">
            <a:xfrm>
              <a:off x="1152"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1" name="Rectangle 210">
              <a:extLst>
                <a:ext uri="{FF2B5EF4-FFF2-40B4-BE49-F238E27FC236}">
                  <a16:creationId xmlns:a16="http://schemas.microsoft.com/office/drawing/2014/main" id="{B0CE2A25-7762-4091-9F8E-A326DA252760}"/>
                </a:ext>
              </a:extLst>
            </p:cNvPr>
            <p:cNvSpPr>
              <a:spLocks noChangeArrowheads="1"/>
            </p:cNvSpPr>
            <p:nvPr userDrawn="1"/>
          </p:nvSpPr>
          <p:spPr bwMode="auto">
            <a:xfrm>
              <a:off x="1440"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2" name="Rectangle 211">
              <a:extLst>
                <a:ext uri="{FF2B5EF4-FFF2-40B4-BE49-F238E27FC236}">
                  <a16:creationId xmlns:a16="http://schemas.microsoft.com/office/drawing/2014/main" id="{724EDC28-185B-429D-8444-784BCC0E1D65}"/>
                </a:ext>
              </a:extLst>
            </p:cNvPr>
            <p:cNvSpPr>
              <a:spLocks noChangeArrowheads="1"/>
            </p:cNvSpPr>
            <p:nvPr userDrawn="1"/>
          </p:nvSpPr>
          <p:spPr bwMode="auto">
            <a:xfrm>
              <a:off x="1728"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3" name="Rectangle 212">
              <a:extLst>
                <a:ext uri="{FF2B5EF4-FFF2-40B4-BE49-F238E27FC236}">
                  <a16:creationId xmlns:a16="http://schemas.microsoft.com/office/drawing/2014/main" id="{BFDB7B6B-11C9-4313-96F8-6182294FEF84}"/>
                </a:ext>
              </a:extLst>
            </p:cNvPr>
            <p:cNvSpPr>
              <a:spLocks noChangeArrowheads="1"/>
            </p:cNvSpPr>
            <p:nvPr userDrawn="1"/>
          </p:nvSpPr>
          <p:spPr bwMode="auto">
            <a:xfrm>
              <a:off x="2016"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4" name="Rectangle 213">
              <a:extLst>
                <a:ext uri="{FF2B5EF4-FFF2-40B4-BE49-F238E27FC236}">
                  <a16:creationId xmlns:a16="http://schemas.microsoft.com/office/drawing/2014/main" id="{70E6405A-1DE3-4B8C-9051-8C57356C2BEC}"/>
                </a:ext>
              </a:extLst>
            </p:cNvPr>
            <p:cNvSpPr>
              <a:spLocks noChangeArrowheads="1"/>
            </p:cNvSpPr>
            <p:nvPr userDrawn="1"/>
          </p:nvSpPr>
          <p:spPr bwMode="auto">
            <a:xfrm>
              <a:off x="2304"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5" name="Rectangle 214">
              <a:extLst>
                <a:ext uri="{FF2B5EF4-FFF2-40B4-BE49-F238E27FC236}">
                  <a16:creationId xmlns:a16="http://schemas.microsoft.com/office/drawing/2014/main" id="{A8B25694-EDD0-4858-929E-CC94136E4FE6}"/>
                </a:ext>
              </a:extLst>
            </p:cNvPr>
            <p:cNvSpPr>
              <a:spLocks noChangeArrowheads="1"/>
            </p:cNvSpPr>
            <p:nvPr userDrawn="1"/>
          </p:nvSpPr>
          <p:spPr bwMode="auto">
            <a:xfrm>
              <a:off x="2592"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6" name="Rectangle 215">
              <a:extLst>
                <a:ext uri="{FF2B5EF4-FFF2-40B4-BE49-F238E27FC236}">
                  <a16:creationId xmlns:a16="http://schemas.microsoft.com/office/drawing/2014/main" id="{FAE36D16-A70F-417E-8CC0-CD5BE007B0C4}"/>
                </a:ext>
              </a:extLst>
            </p:cNvPr>
            <p:cNvSpPr>
              <a:spLocks noChangeArrowheads="1"/>
            </p:cNvSpPr>
            <p:nvPr userDrawn="1"/>
          </p:nvSpPr>
          <p:spPr bwMode="auto">
            <a:xfrm>
              <a:off x="2880"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7" name="Rectangle 216">
              <a:extLst>
                <a:ext uri="{FF2B5EF4-FFF2-40B4-BE49-F238E27FC236}">
                  <a16:creationId xmlns:a16="http://schemas.microsoft.com/office/drawing/2014/main" id="{8886EC27-92E0-4CD8-B35A-1BF9374BAF92}"/>
                </a:ext>
              </a:extLst>
            </p:cNvPr>
            <p:cNvSpPr>
              <a:spLocks noChangeArrowheads="1"/>
            </p:cNvSpPr>
            <p:nvPr userDrawn="1"/>
          </p:nvSpPr>
          <p:spPr bwMode="auto">
            <a:xfrm>
              <a:off x="3168"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8" name="Rectangle 217">
              <a:extLst>
                <a:ext uri="{FF2B5EF4-FFF2-40B4-BE49-F238E27FC236}">
                  <a16:creationId xmlns:a16="http://schemas.microsoft.com/office/drawing/2014/main" id="{12DD7403-C581-45A2-AEA0-1B7FF5C64C81}"/>
                </a:ext>
              </a:extLst>
            </p:cNvPr>
            <p:cNvSpPr>
              <a:spLocks noChangeArrowheads="1"/>
            </p:cNvSpPr>
            <p:nvPr userDrawn="1"/>
          </p:nvSpPr>
          <p:spPr bwMode="auto">
            <a:xfrm>
              <a:off x="3456"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9" name="Rectangle 218">
              <a:extLst>
                <a:ext uri="{FF2B5EF4-FFF2-40B4-BE49-F238E27FC236}">
                  <a16:creationId xmlns:a16="http://schemas.microsoft.com/office/drawing/2014/main" id="{66480275-F822-4113-B201-FE3969E64094}"/>
                </a:ext>
              </a:extLst>
            </p:cNvPr>
            <p:cNvSpPr>
              <a:spLocks noChangeArrowheads="1"/>
            </p:cNvSpPr>
            <p:nvPr userDrawn="1"/>
          </p:nvSpPr>
          <p:spPr bwMode="auto">
            <a:xfrm>
              <a:off x="3744"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0" name="Rectangle 219">
              <a:extLst>
                <a:ext uri="{FF2B5EF4-FFF2-40B4-BE49-F238E27FC236}">
                  <a16:creationId xmlns:a16="http://schemas.microsoft.com/office/drawing/2014/main" id="{5EFD341E-10FE-46C2-B2BE-BA669BC45199}"/>
                </a:ext>
              </a:extLst>
            </p:cNvPr>
            <p:cNvSpPr>
              <a:spLocks noChangeArrowheads="1"/>
            </p:cNvSpPr>
            <p:nvPr userDrawn="1"/>
          </p:nvSpPr>
          <p:spPr bwMode="auto">
            <a:xfrm>
              <a:off x="4032"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1" name="Rectangle 220">
              <a:extLst>
                <a:ext uri="{FF2B5EF4-FFF2-40B4-BE49-F238E27FC236}">
                  <a16:creationId xmlns:a16="http://schemas.microsoft.com/office/drawing/2014/main" id="{96A9B961-85DF-48D3-90A9-CC549E6B191B}"/>
                </a:ext>
              </a:extLst>
            </p:cNvPr>
            <p:cNvSpPr>
              <a:spLocks noChangeArrowheads="1"/>
            </p:cNvSpPr>
            <p:nvPr userDrawn="1"/>
          </p:nvSpPr>
          <p:spPr bwMode="auto">
            <a:xfrm>
              <a:off x="4320"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2" name="Rectangle 221">
              <a:extLst>
                <a:ext uri="{FF2B5EF4-FFF2-40B4-BE49-F238E27FC236}">
                  <a16:creationId xmlns:a16="http://schemas.microsoft.com/office/drawing/2014/main" id="{6CCA0AC1-4FDF-4926-84FC-FDF05FA5B948}"/>
                </a:ext>
              </a:extLst>
            </p:cNvPr>
            <p:cNvSpPr>
              <a:spLocks noChangeArrowheads="1"/>
            </p:cNvSpPr>
            <p:nvPr userDrawn="1"/>
          </p:nvSpPr>
          <p:spPr bwMode="auto">
            <a:xfrm>
              <a:off x="4608"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3" name="Rectangle 222">
              <a:extLst>
                <a:ext uri="{FF2B5EF4-FFF2-40B4-BE49-F238E27FC236}">
                  <a16:creationId xmlns:a16="http://schemas.microsoft.com/office/drawing/2014/main" id="{3BB7B344-C9E8-4FF6-BBEE-001BF001E7F7}"/>
                </a:ext>
              </a:extLst>
            </p:cNvPr>
            <p:cNvSpPr>
              <a:spLocks noChangeArrowheads="1"/>
            </p:cNvSpPr>
            <p:nvPr userDrawn="1"/>
          </p:nvSpPr>
          <p:spPr bwMode="auto">
            <a:xfrm>
              <a:off x="4896"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4" name="Rectangle 223">
              <a:extLst>
                <a:ext uri="{FF2B5EF4-FFF2-40B4-BE49-F238E27FC236}">
                  <a16:creationId xmlns:a16="http://schemas.microsoft.com/office/drawing/2014/main" id="{C85F8F0F-8D1A-49CE-BFC8-269893CC6D88}"/>
                </a:ext>
              </a:extLst>
            </p:cNvPr>
            <p:cNvSpPr>
              <a:spLocks noChangeArrowheads="1"/>
            </p:cNvSpPr>
            <p:nvPr userDrawn="1"/>
          </p:nvSpPr>
          <p:spPr bwMode="auto">
            <a:xfrm>
              <a:off x="5184"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5" name="Rectangle 224">
              <a:extLst>
                <a:ext uri="{FF2B5EF4-FFF2-40B4-BE49-F238E27FC236}">
                  <a16:creationId xmlns:a16="http://schemas.microsoft.com/office/drawing/2014/main" id="{B1349BA2-A0F1-42F5-855E-3CA51385E194}"/>
                </a:ext>
              </a:extLst>
            </p:cNvPr>
            <p:cNvSpPr>
              <a:spLocks noChangeArrowheads="1"/>
            </p:cNvSpPr>
            <p:nvPr userDrawn="1"/>
          </p:nvSpPr>
          <p:spPr bwMode="auto">
            <a:xfrm>
              <a:off x="5472"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6" name="Rectangle 226">
              <a:extLst>
                <a:ext uri="{FF2B5EF4-FFF2-40B4-BE49-F238E27FC236}">
                  <a16:creationId xmlns:a16="http://schemas.microsoft.com/office/drawing/2014/main" id="{87254C3D-C8DF-4793-8626-F8F7905109DC}"/>
                </a:ext>
              </a:extLst>
            </p:cNvPr>
            <p:cNvSpPr>
              <a:spLocks noChangeArrowheads="1"/>
            </p:cNvSpPr>
            <p:nvPr userDrawn="1"/>
          </p:nvSpPr>
          <p:spPr bwMode="auto">
            <a:xfrm>
              <a:off x="0"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7" name="Rectangle 227">
              <a:extLst>
                <a:ext uri="{FF2B5EF4-FFF2-40B4-BE49-F238E27FC236}">
                  <a16:creationId xmlns:a16="http://schemas.microsoft.com/office/drawing/2014/main" id="{34725126-5321-49A7-BB4E-6CD0E2956A49}"/>
                </a:ext>
              </a:extLst>
            </p:cNvPr>
            <p:cNvSpPr>
              <a:spLocks noChangeArrowheads="1"/>
            </p:cNvSpPr>
            <p:nvPr userDrawn="1"/>
          </p:nvSpPr>
          <p:spPr bwMode="auto">
            <a:xfrm>
              <a:off x="288"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8" name="Rectangle 228">
              <a:extLst>
                <a:ext uri="{FF2B5EF4-FFF2-40B4-BE49-F238E27FC236}">
                  <a16:creationId xmlns:a16="http://schemas.microsoft.com/office/drawing/2014/main" id="{FD54FA0F-2392-4DF8-A5DA-DBF8D27A075B}"/>
                </a:ext>
              </a:extLst>
            </p:cNvPr>
            <p:cNvSpPr>
              <a:spLocks noChangeArrowheads="1"/>
            </p:cNvSpPr>
            <p:nvPr userDrawn="1"/>
          </p:nvSpPr>
          <p:spPr bwMode="auto">
            <a:xfrm>
              <a:off x="576"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9" name="Rectangle 229">
              <a:extLst>
                <a:ext uri="{FF2B5EF4-FFF2-40B4-BE49-F238E27FC236}">
                  <a16:creationId xmlns:a16="http://schemas.microsoft.com/office/drawing/2014/main" id="{D681BBAF-0A8F-43BE-83D0-F190ED879D4C}"/>
                </a:ext>
              </a:extLst>
            </p:cNvPr>
            <p:cNvSpPr>
              <a:spLocks noChangeArrowheads="1"/>
            </p:cNvSpPr>
            <p:nvPr userDrawn="1"/>
          </p:nvSpPr>
          <p:spPr bwMode="auto">
            <a:xfrm>
              <a:off x="864"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0" name="Rectangle 230">
              <a:extLst>
                <a:ext uri="{FF2B5EF4-FFF2-40B4-BE49-F238E27FC236}">
                  <a16:creationId xmlns:a16="http://schemas.microsoft.com/office/drawing/2014/main" id="{27D6028E-F9EA-4E7D-908D-082BC586A07F}"/>
                </a:ext>
              </a:extLst>
            </p:cNvPr>
            <p:cNvSpPr>
              <a:spLocks noChangeArrowheads="1"/>
            </p:cNvSpPr>
            <p:nvPr userDrawn="1"/>
          </p:nvSpPr>
          <p:spPr bwMode="auto">
            <a:xfrm>
              <a:off x="1152"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1" name="Rectangle 231">
              <a:extLst>
                <a:ext uri="{FF2B5EF4-FFF2-40B4-BE49-F238E27FC236}">
                  <a16:creationId xmlns:a16="http://schemas.microsoft.com/office/drawing/2014/main" id="{5EA74134-A462-49F2-AA66-4622970B5493}"/>
                </a:ext>
              </a:extLst>
            </p:cNvPr>
            <p:cNvSpPr>
              <a:spLocks noChangeArrowheads="1"/>
            </p:cNvSpPr>
            <p:nvPr userDrawn="1"/>
          </p:nvSpPr>
          <p:spPr bwMode="auto">
            <a:xfrm>
              <a:off x="1440"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2" name="Rectangle 232">
              <a:extLst>
                <a:ext uri="{FF2B5EF4-FFF2-40B4-BE49-F238E27FC236}">
                  <a16:creationId xmlns:a16="http://schemas.microsoft.com/office/drawing/2014/main" id="{4E15E248-CC27-4AAA-844E-B92385C3AC8E}"/>
                </a:ext>
              </a:extLst>
            </p:cNvPr>
            <p:cNvSpPr>
              <a:spLocks noChangeArrowheads="1"/>
            </p:cNvSpPr>
            <p:nvPr userDrawn="1"/>
          </p:nvSpPr>
          <p:spPr bwMode="auto">
            <a:xfrm>
              <a:off x="1728"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3" name="Rectangle 233">
              <a:extLst>
                <a:ext uri="{FF2B5EF4-FFF2-40B4-BE49-F238E27FC236}">
                  <a16:creationId xmlns:a16="http://schemas.microsoft.com/office/drawing/2014/main" id="{B9001356-3F25-44F3-AB6F-5958837B506A}"/>
                </a:ext>
              </a:extLst>
            </p:cNvPr>
            <p:cNvSpPr>
              <a:spLocks noChangeArrowheads="1"/>
            </p:cNvSpPr>
            <p:nvPr userDrawn="1"/>
          </p:nvSpPr>
          <p:spPr bwMode="auto">
            <a:xfrm>
              <a:off x="2016"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4" name="Rectangle 234">
              <a:extLst>
                <a:ext uri="{FF2B5EF4-FFF2-40B4-BE49-F238E27FC236}">
                  <a16:creationId xmlns:a16="http://schemas.microsoft.com/office/drawing/2014/main" id="{5D22D308-CE8A-4B42-8692-DAC2CB03F57C}"/>
                </a:ext>
              </a:extLst>
            </p:cNvPr>
            <p:cNvSpPr>
              <a:spLocks noChangeArrowheads="1"/>
            </p:cNvSpPr>
            <p:nvPr userDrawn="1"/>
          </p:nvSpPr>
          <p:spPr bwMode="auto">
            <a:xfrm>
              <a:off x="2304"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5" name="Rectangle 235">
              <a:extLst>
                <a:ext uri="{FF2B5EF4-FFF2-40B4-BE49-F238E27FC236}">
                  <a16:creationId xmlns:a16="http://schemas.microsoft.com/office/drawing/2014/main" id="{B8DAC6F7-E55E-46EC-B453-2C12990204BC}"/>
                </a:ext>
              </a:extLst>
            </p:cNvPr>
            <p:cNvSpPr>
              <a:spLocks noChangeArrowheads="1"/>
            </p:cNvSpPr>
            <p:nvPr userDrawn="1"/>
          </p:nvSpPr>
          <p:spPr bwMode="auto">
            <a:xfrm>
              <a:off x="2592"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6" name="Rectangle 236">
              <a:extLst>
                <a:ext uri="{FF2B5EF4-FFF2-40B4-BE49-F238E27FC236}">
                  <a16:creationId xmlns:a16="http://schemas.microsoft.com/office/drawing/2014/main" id="{BDA5A495-D5B1-4513-A1F3-16380AC662DF}"/>
                </a:ext>
              </a:extLst>
            </p:cNvPr>
            <p:cNvSpPr>
              <a:spLocks noChangeArrowheads="1"/>
            </p:cNvSpPr>
            <p:nvPr userDrawn="1"/>
          </p:nvSpPr>
          <p:spPr bwMode="auto">
            <a:xfrm>
              <a:off x="2880"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7" name="Rectangle 237">
              <a:extLst>
                <a:ext uri="{FF2B5EF4-FFF2-40B4-BE49-F238E27FC236}">
                  <a16:creationId xmlns:a16="http://schemas.microsoft.com/office/drawing/2014/main" id="{1FD11B27-529D-48D5-A786-479623DADE06}"/>
                </a:ext>
              </a:extLst>
            </p:cNvPr>
            <p:cNvSpPr>
              <a:spLocks noChangeArrowheads="1"/>
            </p:cNvSpPr>
            <p:nvPr userDrawn="1"/>
          </p:nvSpPr>
          <p:spPr bwMode="auto">
            <a:xfrm>
              <a:off x="3168"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8" name="Rectangle 238">
              <a:extLst>
                <a:ext uri="{FF2B5EF4-FFF2-40B4-BE49-F238E27FC236}">
                  <a16:creationId xmlns:a16="http://schemas.microsoft.com/office/drawing/2014/main" id="{B9610CDE-C2E3-4710-8E55-EBC1E4B023C5}"/>
                </a:ext>
              </a:extLst>
            </p:cNvPr>
            <p:cNvSpPr>
              <a:spLocks noChangeArrowheads="1"/>
            </p:cNvSpPr>
            <p:nvPr userDrawn="1"/>
          </p:nvSpPr>
          <p:spPr bwMode="auto">
            <a:xfrm>
              <a:off x="3456"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9" name="Rectangle 239">
              <a:extLst>
                <a:ext uri="{FF2B5EF4-FFF2-40B4-BE49-F238E27FC236}">
                  <a16:creationId xmlns:a16="http://schemas.microsoft.com/office/drawing/2014/main" id="{84A77EA3-90B2-4DAB-A33A-F220C6BDD75A}"/>
                </a:ext>
              </a:extLst>
            </p:cNvPr>
            <p:cNvSpPr>
              <a:spLocks noChangeArrowheads="1"/>
            </p:cNvSpPr>
            <p:nvPr userDrawn="1"/>
          </p:nvSpPr>
          <p:spPr bwMode="auto">
            <a:xfrm>
              <a:off x="3744"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0" name="Rectangle 240">
              <a:extLst>
                <a:ext uri="{FF2B5EF4-FFF2-40B4-BE49-F238E27FC236}">
                  <a16:creationId xmlns:a16="http://schemas.microsoft.com/office/drawing/2014/main" id="{4EB85C2D-9E15-4F1C-9BB6-0E692FBA8F91}"/>
                </a:ext>
              </a:extLst>
            </p:cNvPr>
            <p:cNvSpPr>
              <a:spLocks noChangeArrowheads="1"/>
            </p:cNvSpPr>
            <p:nvPr userDrawn="1"/>
          </p:nvSpPr>
          <p:spPr bwMode="auto">
            <a:xfrm>
              <a:off x="4032"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1" name="Rectangle 241">
              <a:extLst>
                <a:ext uri="{FF2B5EF4-FFF2-40B4-BE49-F238E27FC236}">
                  <a16:creationId xmlns:a16="http://schemas.microsoft.com/office/drawing/2014/main" id="{BE965031-FE0E-4D4D-8E30-7213B9EF4F92}"/>
                </a:ext>
              </a:extLst>
            </p:cNvPr>
            <p:cNvSpPr>
              <a:spLocks noChangeArrowheads="1"/>
            </p:cNvSpPr>
            <p:nvPr userDrawn="1"/>
          </p:nvSpPr>
          <p:spPr bwMode="auto">
            <a:xfrm>
              <a:off x="4320"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2" name="Rectangle 242">
              <a:extLst>
                <a:ext uri="{FF2B5EF4-FFF2-40B4-BE49-F238E27FC236}">
                  <a16:creationId xmlns:a16="http://schemas.microsoft.com/office/drawing/2014/main" id="{EDE4AC1E-8059-4F3B-AFA5-CBDAB1A57C94}"/>
                </a:ext>
              </a:extLst>
            </p:cNvPr>
            <p:cNvSpPr>
              <a:spLocks noChangeArrowheads="1"/>
            </p:cNvSpPr>
            <p:nvPr userDrawn="1"/>
          </p:nvSpPr>
          <p:spPr bwMode="auto">
            <a:xfrm>
              <a:off x="4608"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3" name="Rectangle 243">
              <a:extLst>
                <a:ext uri="{FF2B5EF4-FFF2-40B4-BE49-F238E27FC236}">
                  <a16:creationId xmlns:a16="http://schemas.microsoft.com/office/drawing/2014/main" id="{BF8554E3-0354-4400-A0D7-BA9DD72C0540}"/>
                </a:ext>
              </a:extLst>
            </p:cNvPr>
            <p:cNvSpPr>
              <a:spLocks noChangeArrowheads="1"/>
            </p:cNvSpPr>
            <p:nvPr userDrawn="1"/>
          </p:nvSpPr>
          <p:spPr bwMode="auto">
            <a:xfrm>
              <a:off x="4896"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4" name="Rectangle 244">
              <a:extLst>
                <a:ext uri="{FF2B5EF4-FFF2-40B4-BE49-F238E27FC236}">
                  <a16:creationId xmlns:a16="http://schemas.microsoft.com/office/drawing/2014/main" id="{ADD1C938-D8D7-4FF3-8043-E5E3F5997B18}"/>
                </a:ext>
              </a:extLst>
            </p:cNvPr>
            <p:cNvSpPr>
              <a:spLocks noChangeArrowheads="1"/>
            </p:cNvSpPr>
            <p:nvPr userDrawn="1"/>
          </p:nvSpPr>
          <p:spPr bwMode="auto">
            <a:xfrm>
              <a:off x="5184"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5" name="Rectangle 245">
              <a:extLst>
                <a:ext uri="{FF2B5EF4-FFF2-40B4-BE49-F238E27FC236}">
                  <a16:creationId xmlns:a16="http://schemas.microsoft.com/office/drawing/2014/main" id="{E9218779-75F6-43E3-A916-5AC7BA4B258F}"/>
                </a:ext>
              </a:extLst>
            </p:cNvPr>
            <p:cNvSpPr>
              <a:spLocks noChangeArrowheads="1"/>
            </p:cNvSpPr>
            <p:nvPr userDrawn="1"/>
          </p:nvSpPr>
          <p:spPr bwMode="auto">
            <a:xfrm>
              <a:off x="5472"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6" name="Rectangle 247">
              <a:extLst>
                <a:ext uri="{FF2B5EF4-FFF2-40B4-BE49-F238E27FC236}">
                  <a16:creationId xmlns:a16="http://schemas.microsoft.com/office/drawing/2014/main" id="{32A92BB8-54D7-4979-9C24-1AEA79223E68}"/>
                </a:ext>
              </a:extLst>
            </p:cNvPr>
            <p:cNvSpPr>
              <a:spLocks noChangeArrowheads="1"/>
            </p:cNvSpPr>
            <p:nvPr userDrawn="1"/>
          </p:nvSpPr>
          <p:spPr bwMode="auto">
            <a:xfrm>
              <a:off x="0"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7" name="Rectangle 248">
              <a:extLst>
                <a:ext uri="{FF2B5EF4-FFF2-40B4-BE49-F238E27FC236}">
                  <a16:creationId xmlns:a16="http://schemas.microsoft.com/office/drawing/2014/main" id="{0A96D088-EFE9-48AD-85D1-EDCB87748BB8}"/>
                </a:ext>
              </a:extLst>
            </p:cNvPr>
            <p:cNvSpPr>
              <a:spLocks noChangeArrowheads="1"/>
            </p:cNvSpPr>
            <p:nvPr userDrawn="1"/>
          </p:nvSpPr>
          <p:spPr bwMode="auto">
            <a:xfrm>
              <a:off x="288"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8" name="Rectangle 249">
              <a:extLst>
                <a:ext uri="{FF2B5EF4-FFF2-40B4-BE49-F238E27FC236}">
                  <a16:creationId xmlns:a16="http://schemas.microsoft.com/office/drawing/2014/main" id="{BA5FE6E6-C8D9-458F-81CC-611889B81AFA}"/>
                </a:ext>
              </a:extLst>
            </p:cNvPr>
            <p:cNvSpPr>
              <a:spLocks noChangeArrowheads="1"/>
            </p:cNvSpPr>
            <p:nvPr userDrawn="1"/>
          </p:nvSpPr>
          <p:spPr bwMode="auto">
            <a:xfrm>
              <a:off x="576"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9" name="Rectangle 250">
              <a:extLst>
                <a:ext uri="{FF2B5EF4-FFF2-40B4-BE49-F238E27FC236}">
                  <a16:creationId xmlns:a16="http://schemas.microsoft.com/office/drawing/2014/main" id="{B5228D42-5120-4A91-B694-4466C5164CFD}"/>
                </a:ext>
              </a:extLst>
            </p:cNvPr>
            <p:cNvSpPr>
              <a:spLocks noChangeArrowheads="1"/>
            </p:cNvSpPr>
            <p:nvPr userDrawn="1"/>
          </p:nvSpPr>
          <p:spPr bwMode="auto">
            <a:xfrm>
              <a:off x="864"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0" name="Rectangle 251">
              <a:extLst>
                <a:ext uri="{FF2B5EF4-FFF2-40B4-BE49-F238E27FC236}">
                  <a16:creationId xmlns:a16="http://schemas.microsoft.com/office/drawing/2014/main" id="{4693CD4F-B311-4B41-A50C-F27CA28C5A3B}"/>
                </a:ext>
              </a:extLst>
            </p:cNvPr>
            <p:cNvSpPr>
              <a:spLocks noChangeArrowheads="1"/>
            </p:cNvSpPr>
            <p:nvPr userDrawn="1"/>
          </p:nvSpPr>
          <p:spPr bwMode="auto">
            <a:xfrm>
              <a:off x="1152"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1" name="Rectangle 252">
              <a:extLst>
                <a:ext uri="{FF2B5EF4-FFF2-40B4-BE49-F238E27FC236}">
                  <a16:creationId xmlns:a16="http://schemas.microsoft.com/office/drawing/2014/main" id="{7FC17B24-7F4D-46AC-835C-7F3E0739DC69}"/>
                </a:ext>
              </a:extLst>
            </p:cNvPr>
            <p:cNvSpPr>
              <a:spLocks noChangeArrowheads="1"/>
            </p:cNvSpPr>
            <p:nvPr userDrawn="1"/>
          </p:nvSpPr>
          <p:spPr bwMode="auto">
            <a:xfrm>
              <a:off x="1440"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2" name="Rectangle 253">
              <a:extLst>
                <a:ext uri="{FF2B5EF4-FFF2-40B4-BE49-F238E27FC236}">
                  <a16:creationId xmlns:a16="http://schemas.microsoft.com/office/drawing/2014/main" id="{9E36A074-2DA0-4E85-9540-BB2391182497}"/>
                </a:ext>
              </a:extLst>
            </p:cNvPr>
            <p:cNvSpPr>
              <a:spLocks noChangeArrowheads="1"/>
            </p:cNvSpPr>
            <p:nvPr userDrawn="1"/>
          </p:nvSpPr>
          <p:spPr bwMode="auto">
            <a:xfrm>
              <a:off x="1728"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3" name="Rectangle 254">
              <a:extLst>
                <a:ext uri="{FF2B5EF4-FFF2-40B4-BE49-F238E27FC236}">
                  <a16:creationId xmlns:a16="http://schemas.microsoft.com/office/drawing/2014/main" id="{F2B351F1-7D1A-4879-B3FB-C2235D0F421D}"/>
                </a:ext>
              </a:extLst>
            </p:cNvPr>
            <p:cNvSpPr>
              <a:spLocks noChangeArrowheads="1"/>
            </p:cNvSpPr>
            <p:nvPr userDrawn="1"/>
          </p:nvSpPr>
          <p:spPr bwMode="auto">
            <a:xfrm>
              <a:off x="2016"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4" name="Rectangle 255">
              <a:extLst>
                <a:ext uri="{FF2B5EF4-FFF2-40B4-BE49-F238E27FC236}">
                  <a16:creationId xmlns:a16="http://schemas.microsoft.com/office/drawing/2014/main" id="{646A35E5-CF35-4C3C-ABCA-15CD4D4807A9}"/>
                </a:ext>
              </a:extLst>
            </p:cNvPr>
            <p:cNvSpPr>
              <a:spLocks noChangeArrowheads="1"/>
            </p:cNvSpPr>
            <p:nvPr userDrawn="1"/>
          </p:nvSpPr>
          <p:spPr bwMode="auto">
            <a:xfrm>
              <a:off x="2304"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5" name="Rectangle 256">
              <a:extLst>
                <a:ext uri="{FF2B5EF4-FFF2-40B4-BE49-F238E27FC236}">
                  <a16:creationId xmlns:a16="http://schemas.microsoft.com/office/drawing/2014/main" id="{6060D8C2-6B49-4C76-99F1-DC9ABCAA2FFC}"/>
                </a:ext>
              </a:extLst>
            </p:cNvPr>
            <p:cNvSpPr>
              <a:spLocks noChangeArrowheads="1"/>
            </p:cNvSpPr>
            <p:nvPr userDrawn="1"/>
          </p:nvSpPr>
          <p:spPr bwMode="auto">
            <a:xfrm>
              <a:off x="2592"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6" name="Rectangle 257">
              <a:extLst>
                <a:ext uri="{FF2B5EF4-FFF2-40B4-BE49-F238E27FC236}">
                  <a16:creationId xmlns:a16="http://schemas.microsoft.com/office/drawing/2014/main" id="{8F7BA3BF-D9D7-4C0E-AD31-AFFE7EA8AFB1}"/>
                </a:ext>
              </a:extLst>
            </p:cNvPr>
            <p:cNvSpPr>
              <a:spLocks noChangeArrowheads="1"/>
            </p:cNvSpPr>
            <p:nvPr userDrawn="1"/>
          </p:nvSpPr>
          <p:spPr bwMode="auto">
            <a:xfrm>
              <a:off x="2880"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7" name="Rectangle 258">
              <a:extLst>
                <a:ext uri="{FF2B5EF4-FFF2-40B4-BE49-F238E27FC236}">
                  <a16:creationId xmlns:a16="http://schemas.microsoft.com/office/drawing/2014/main" id="{02C98C23-D225-47A8-83D2-D4F1AF8A79D2}"/>
                </a:ext>
              </a:extLst>
            </p:cNvPr>
            <p:cNvSpPr>
              <a:spLocks noChangeArrowheads="1"/>
            </p:cNvSpPr>
            <p:nvPr userDrawn="1"/>
          </p:nvSpPr>
          <p:spPr bwMode="auto">
            <a:xfrm>
              <a:off x="3168"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8" name="Rectangle 259">
              <a:extLst>
                <a:ext uri="{FF2B5EF4-FFF2-40B4-BE49-F238E27FC236}">
                  <a16:creationId xmlns:a16="http://schemas.microsoft.com/office/drawing/2014/main" id="{AE3181C6-6907-4D88-937F-EB57962E8CAD}"/>
                </a:ext>
              </a:extLst>
            </p:cNvPr>
            <p:cNvSpPr>
              <a:spLocks noChangeArrowheads="1"/>
            </p:cNvSpPr>
            <p:nvPr userDrawn="1"/>
          </p:nvSpPr>
          <p:spPr bwMode="auto">
            <a:xfrm>
              <a:off x="3456"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9" name="Rectangle 260">
              <a:extLst>
                <a:ext uri="{FF2B5EF4-FFF2-40B4-BE49-F238E27FC236}">
                  <a16:creationId xmlns:a16="http://schemas.microsoft.com/office/drawing/2014/main" id="{CAF5A50C-7488-4202-9A1D-EC7023001CA0}"/>
                </a:ext>
              </a:extLst>
            </p:cNvPr>
            <p:cNvSpPr>
              <a:spLocks noChangeArrowheads="1"/>
            </p:cNvSpPr>
            <p:nvPr userDrawn="1"/>
          </p:nvSpPr>
          <p:spPr bwMode="auto">
            <a:xfrm>
              <a:off x="3744"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0" name="Rectangle 261">
              <a:extLst>
                <a:ext uri="{FF2B5EF4-FFF2-40B4-BE49-F238E27FC236}">
                  <a16:creationId xmlns:a16="http://schemas.microsoft.com/office/drawing/2014/main" id="{96D5BACA-1283-411A-B6BE-A9F707F313EA}"/>
                </a:ext>
              </a:extLst>
            </p:cNvPr>
            <p:cNvSpPr>
              <a:spLocks noChangeArrowheads="1"/>
            </p:cNvSpPr>
            <p:nvPr userDrawn="1"/>
          </p:nvSpPr>
          <p:spPr bwMode="auto">
            <a:xfrm>
              <a:off x="4032"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1" name="Rectangle 262">
              <a:extLst>
                <a:ext uri="{FF2B5EF4-FFF2-40B4-BE49-F238E27FC236}">
                  <a16:creationId xmlns:a16="http://schemas.microsoft.com/office/drawing/2014/main" id="{2A6AA652-E11B-413C-81B0-7F8B81F00F9A}"/>
                </a:ext>
              </a:extLst>
            </p:cNvPr>
            <p:cNvSpPr>
              <a:spLocks noChangeArrowheads="1"/>
            </p:cNvSpPr>
            <p:nvPr userDrawn="1"/>
          </p:nvSpPr>
          <p:spPr bwMode="auto">
            <a:xfrm>
              <a:off x="4320"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2" name="Rectangle 263">
              <a:extLst>
                <a:ext uri="{FF2B5EF4-FFF2-40B4-BE49-F238E27FC236}">
                  <a16:creationId xmlns:a16="http://schemas.microsoft.com/office/drawing/2014/main" id="{AD4D2808-70A8-49E3-A192-3FD067B950DB}"/>
                </a:ext>
              </a:extLst>
            </p:cNvPr>
            <p:cNvSpPr>
              <a:spLocks noChangeArrowheads="1"/>
            </p:cNvSpPr>
            <p:nvPr userDrawn="1"/>
          </p:nvSpPr>
          <p:spPr bwMode="auto">
            <a:xfrm>
              <a:off x="4608"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3" name="Rectangle 264">
              <a:extLst>
                <a:ext uri="{FF2B5EF4-FFF2-40B4-BE49-F238E27FC236}">
                  <a16:creationId xmlns:a16="http://schemas.microsoft.com/office/drawing/2014/main" id="{DAB0E9A4-40D4-48A1-9AA5-5520C3ED5A04}"/>
                </a:ext>
              </a:extLst>
            </p:cNvPr>
            <p:cNvSpPr>
              <a:spLocks noChangeArrowheads="1"/>
            </p:cNvSpPr>
            <p:nvPr userDrawn="1"/>
          </p:nvSpPr>
          <p:spPr bwMode="auto">
            <a:xfrm>
              <a:off x="4896"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4" name="Rectangle 265">
              <a:extLst>
                <a:ext uri="{FF2B5EF4-FFF2-40B4-BE49-F238E27FC236}">
                  <a16:creationId xmlns:a16="http://schemas.microsoft.com/office/drawing/2014/main" id="{38906EEF-BDA6-4DF7-A8C8-66404B89A817}"/>
                </a:ext>
              </a:extLst>
            </p:cNvPr>
            <p:cNvSpPr>
              <a:spLocks noChangeArrowheads="1"/>
            </p:cNvSpPr>
            <p:nvPr userDrawn="1"/>
          </p:nvSpPr>
          <p:spPr bwMode="auto">
            <a:xfrm>
              <a:off x="5184"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5" name="Rectangle 266">
              <a:extLst>
                <a:ext uri="{FF2B5EF4-FFF2-40B4-BE49-F238E27FC236}">
                  <a16:creationId xmlns:a16="http://schemas.microsoft.com/office/drawing/2014/main" id="{8DABFD39-530F-4461-B489-01FB4C54246E}"/>
                </a:ext>
              </a:extLst>
            </p:cNvPr>
            <p:cNvSpPr>
              <a:spLocks noChangeArrowheads="1"/>
            </p:cNvSpPr>
            <p:nvPr userDrawn="1"/>
          </p:nvSpPr>
          <p:spPr bwMode="auto">
            <a:xfrm>
              <a:off x="5472"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6" name="Rectangle 268">
              <a:extLst>
                <a:ext uri="{FF2B5EF4-FFF2-40B4-BE49-F238E27FC236}">
                  <a16:creationId xmlns:a16="http://schemas.microsoft.com/office/drawing/2014/main" id="{818DBDEF-0382-475B-BBF8-C3B0A013AF1B}"/>
                </a:ext>
              </a:extLst>
            </p:cNvPr>
            <p:cNvSpPr>
              <a:spLocks noChangeArrowheads="1"/>
            </p:cNvSpPr>
            <p:nvPr userDrawn="1"/>
          </p:nvSpPr>
          <p:spPr bwMode="auto">
            <a:xfrm>
              <a:off x="0"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7" name="Rectangle 269">
              <a:extLst>
                <a:ext uri="{FF2B5EF4-FFF2-40B4-BE49-F238E27FC236}">
                  <a16:creationId xmlns:a16="http://schemas.microsoft.com/office/drawing/2014/main" id="{E0223BCF-720C-42C3-9C89-29E7EC634C06}"/>
                </a:ext>
              </a:extLst>
            </p:cNvPr>
            <p:cNvSpPr>
              <a:spLocks noChangeArrowheads="1"/>
            </p:cNvSpPr>
            <p:nvPr userDrawn="1"/>
          </p:nvSpPr>
          <p:spPr bwMode="auto">
            <a:xfrm>
              <a:off x="288"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8" name="Rectangle 270">
              <a:extLst>
                <a:ext uri="{FF2B5EF4-FFF2-40B4-BE49-F238E27FC236}">
                  <a16:creationId xmlns:a16="http://schemas.microsoft.com/office/drawing/2014/main" id="{1643276C-EEC8-4FA0-A748-C0789A1583E3}"/>
                </a:ext>
              </a:extLst>
            </p:cNvPr>
            <p:cNvSpPr>
              <a:spLocks noChangeArrowheads="1"/>
            </p:cNvSpPr>
            <p:nvPr userDrawn="1"/>
          </p:nvSpPr>
          <p:spPr bwMode="auto">
            <a:xfrm>
              <a:off x="576"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9" name="Rectangle 271">
              <a:extLst>
                <a:ext uri="{FF2B5EF4-FFF2-40B4-BE49-F238E27FC236}">
                  <a16:creationId xmlns:a16="http://schemas.microsoft.com/office/drawing/2014/main" id="{BF7CBEA5-9E3F-49F8-AD4A-5947D60D010E}"/>
                </a:ext>
              </a:extLst>
            </p:cNvPr>
            <p:cNvSpPr>
              <a:spLocks noChangeArrowheads="1"/>
            </p:cNvSpPr>
            <p:nvPr userDrawn="1"/>
          </p:nvSpPr>
          <p:spPr bwMode="auto">
            <a:xfrm>
              <a:off x="864"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0" name="Rectangle 272">
              <a:extLst>
                <a:ext uri="{FF2B5EF4-FFF2-40B4-BE49-F238E27FC236}">
                  <a16:creationId xmlns:a16="http://schemas.microsoft.com/office/drawing/2014/main" id="{C3EAC0C5-B8E2-4FB7-8527-3050A3648BC1}"/>
                </a:ext>
              </a:extLst>
            </p:cNvPr>
            <p:cNvSpPr>
              <a:spLocks noChangeArrowheads="1"/>
            </p:cNvSpPr>
            <p:nvPr userDrawn="1"/>
          </p:nvSpPr>
          <p:spPr bwMode="auto">
            <a:xfrm>
              <a:off x="1152"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1" name="Rectangle 273">
              <a:extLst>
                <a:ext uri="{FF2B5EF4-FFF2-40B4-BE49-F238E27FC236}">
                  <a16:creationId xmlns:a16="http://schemas.microsoft.com/office/drawing/2014/main" id="{BE3C5664-8F1F-4278-8A5F-4E57350D7222}"/>
                </a:ext>
              </a:extLst>
            </p:cNvPr>
            <p:cNvSpPr>
              <a:spLocks noChangeArrowheads="1"/>
            </p:cNvSpPr>
            <p:nvPr userDrawn="1"/>
          </p:nvSpPr>
          <p:spPr bwMode="auto">
            <a:xfrm>
              <a:off x="1440"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2" name="Rectangle 274">
              <a:extLst>
                <a:ext uri="{FF2B5EF4-FFF2-40B4-BE49-F238E27FC236}">
                  <a16:creationId xmlns:a16="http://schemas.microsoft.com/office/drawing/2014/main" id="{C4EA95C7-2D46-464B-A768-AA09817DBE2C}"/>
                </a:ext>
              </a:extLst>
            </p:cNvPr>
            <p:cNvSpPr>
              <a:spLocks noChangeArrowheads="1"/>
            </p:cNvSpPr>
            <p:nvPr userDrawn="1"/>
          </p:nvSpPr>
          <p:spPr bwMode="auto">
            <a:xfrm>
              <a:off x="1728"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3" name="Rectangle 275">
              <a:extLst>
                <a:ext uri="{FF2B5EF4-FFF2-40B4-BE49-F238E27FC236}">
                  <a16:creationId xmlns:a16="http://schemas.microsoft.com/office/drawing/2014/main" id="{D4C8F1A6-EC62-4C6D-92ED-F3CFB29E3C8A}"/>
                </a:ext>
              </a:extLst>
            </p:cNvPr>
            <p:cNvSpPr>
              <a:spLocks noChangeArrowheads="1"/>
            </p:cNvSpPr>
            <p:nvPr userDrawn="1"/>
          </p:nvSpPr>
          <p:spPr bwMode="auto">
            <a:xfrm>
              <a:off x="2016"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4" name="Rectangle 276">
              <a:extLst>
                <a:ext uri="{FF2B5EF4-FFF2-40B4-BE49-F238E27FC236}">
                  <a16:creationId xmlns:a16="http://schemas.microsoft.com/office/drawing/2014/main" id="{2EAB56FD-8F7C-4ED3-828C-6D0EC46557C7}"/>
                </a:ext>
              </a:extLst>
            </p:cNvPr>
            <p:cNvSpPr>
              <a:spLocks noChangeArrowheads="1"/>
            </p:cNvSpPr>
            <p:nvPr userDrawn="1"/>
          </p:nvSpPr>
          <p:spPr bwMode="auto">
            <a:xfrm>
              <a:off x="2304"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5" name="Rectangle 277">
              <a:extLst>
                <a:ext uri="{FF2B5EF4-FFF2-40B4-BE49-F238E27FC236}">
                  <a16:creationId xmlns:a16="http://schemas.microsoft.com/office/drawing/2014/main" id="{DCB85E5E-53BC-4C4B-A598-BC36E4A39FD8}"/>
                </a:ext>
              </a:extLst>
            </p:cNvPr>
            <p:cNvSpPr>
              <a:spLocks noChangeArrowheads="1"/>
            </p:cNvSpPr>
            <p:nvPr userDrawn="1"/>
          </p:nvSpPr>
          <p:spPr bwMode="auto">
            <a:xfrm>
              <a:off x="2592"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6" name="Rectangle 278">
              <a:extLst>
                <a:ext uri="{FF2B5EF4-FFF2-40B4-BE49-F238E27FC236}">
                  <a16:creationId xmlns:a16="http://schemas.microsoft.com/office/drawing/2014/main" id="{E3D4D957-9DDF-4EEE-867D-D1578F3429D3}"/>
                </a:ext>
              </a:extLst>
            </p:cNvPr>
            <p:cNvSpPr>
              <a:spLocks noChangeArrowheads="1"/>
            </p:cNvSpPr>
            <p:nvPr userDrawn="1"/>
          </p:nvSpPr>
          <p:spPr bwMode="auto">
            <a:xfrm>
              <a:off x="2880"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7" name="Rectangle 279">
              <a:extLst>
                <a:ext uri="{FF2B5EF4-FFF2-40B4-BE49-F238E27FC236}">
                  <a16:creationId xmlns:a16="http://schemas.microsoft.com/office/drawing/2014/main" id="{F86CD294-FE28-44BC-8F30-DC0212E9954F}"/>
                </a:ext>
              </a:extLst>
            </p:cNvPr>
            <p:cNvSpPr>
              <a:spLocks noChangeArrowheads="1"/>
            </p:cNvSpPr>
            <p:nvPr userDrawn="1"/>
          </p:nvSpPr>
          <p:spPr bwMode="auto">
            <a:xfrm>
              <a:off x="3168"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8" name="Rectangle 280">
              <a:extLst>
                <a:ext uri="{FF2B5EF4-FFF2-40B4-BE49-F238E27FC236}">
                  <a16:creationId xmlns:a16="http://schemas.microsoft.com/office/drawing/2014/main" id="{ABAE4E62-6429-48BB-8297-24FA4BFFAEF4}"/>
                </a:ext>
              </a:extLst>
            </p:cNvPr>
            <p:cNvSpPr>
              <a:spLocks noChangeArrowheads="1"/>
            </p:cNvSpPr>
            <p:nvPr userDrawn="1"/>
          </p:nvSpPr>
          <p:spPr bwMode="auto">
            <a:xfrm>
              <a:off x="3456"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9" name="Rectangle 281">
              <a:extLst>
                <a:ext uri="{FF2B5EF4-FFF2-40B4-BE49-F238E27FC236}">
                  <a16:creationId xmlns:a16="http://schemas.microsoft.com/office/drawing/2014/main" id="{53E3ED0B-8B8E-4912-9A63-1FDBF7AFF686}"/>
                </a:ext>
              </a:extLst>
            </p:cNvPr>
            <p:cNvSpPr>
              <a:spLocks noChangeArrowheads="1"/>
            </p:cNvSpPr>
            <p:nvPr userDrawn="1"/>
          </p:nvSpPr>
          <p:spPr bwMode="auto">
            <a:xfrm>
              <a:off x="3744"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0" name="Rectangle 282">
              <a:extLst>
                <a:ext uri="{FF2B5EF4-FFF2-40B4-BE49-F238E27FC236}">
                  <a16:creationId xmlns:a16="http://schemas.microsoft.com/office/drawing/2014/main" id="{28E45880-31FB-4840-B62C-39EA3FDBA085}"/>
                </a:ext>
              </a:extLst>
            </p:cNvPr>
            <p:cNvSpPr>
              <a:spLocks noChangeArrowheads="1"/>
            </p:cNvSpPr>
            <p:nvPr userDrawn="1"/>
          </p:nvSpPr>
          <p:spPr bwMode="auto">
            <a:xfrm>
              <a:off x="4032"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1" name="Rectangle 283">
              <a:extLst>
                <a:ext uri="{FF2B5EF4-FFF2-40B4-BE49-F238E27FC236}">
                  <a16:creationId xmlns:a16="http://schemas.microsoft.com/office/drawing/2014/main" id="{5896E152-29C5-4E47-B821-E00A65A0B45C}"/>
                </a:ext>
              </a:extLst>
            </p:cNvPr>
            <p:cNvSpPr>
              <a:spLocks noChangeArrowheads="1"/>
            </p:cNvSpPr>
            <p:nvPr userDrawn="1"/>
          </p:nvSpPr>
          <p:spPr bwMode="auto">
            <a:xfrm>
              <a:off x="4320"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2" name="Rectangle 284">
              <a:extLst>
                <a:ext uri="{FF2B5EF4-FFF2-40B4-BE49-F238E27FC236}">
                  <a16:creationId xmlns:a16="http://schemas.microsoft.com/office/drawing/2014/main" id="{3D12BAF2-11AE-40D9-B8F8-0774BAF5E898}"/>
                </a:ext>
              </a:extLst>
            </p:cNvPr>
            <p:cNvSpPr>
              <a:spLocks noChangeArrowheads="1"/>
            </p:cNvSpPr>
            <p:nvPr userDrawn="1"/>
          </p:nvSpPr>
          <p:spPr bwMode="auto">
            <a:xfrm>
              <a:off x="4608"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3" name="Rectangle 285">
              <a:extLst>
                <a:ext uri="{FF2B5EF4-FFF2-40B4-BE49-F238E27FC236}">
                  <a16:creationId xmlns:a16="http://schemas.microsoft.com/office/drawing/2014/main" id="{D6E341EC-1912-4FC7-91E3-18AB892DB093}"/>
                </a:ext>
              </a:extLst>
            </p:cNvPr>
            <p:cNvSpPr>
              <a:spLocks noChangeArrowheads="1"/>
            </p:cNvSpPr>
            <p:nvPr userDrawn="1"/>
          </p:nvSpPr>
          <p:spPr bwMode="auto">
            <a:xfrm>
              <a:off x="4896"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4" name="Rectangle 286">
              <a:extLst>
                <a:ext uri="{FF2B5EF4-FFF2-40B4-BE49-F238E27FC236}">
                  <a16:creationId xmlns:a16="http://schemas.microsoft.com/office/drawing/2014/main" id="{A7A6FAF7-2E72-4C00-9E16-451E8C9FC23F}"/>
                </a:ext>
              </a:extLst>
            </p:cNvPr>
            <p:cNvSpPr>
              <a:spLocks noChangeArrowheads="1"/>
            </p:cNvSpPr>
            <p:nvPr userDrawn="1"/>
          </p:nvSpPr>
          <p:spPr bwMode="auto">
            <a:xfrm>
              <a:off x="5184"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5" name="Rectangle 287">
              <a:extLst>
                <a:ext uri="{FF2B5EF4-FFF2-40B4-BE49-F238E27FC236}">
                  <a16:creationId xmlns:a16="http://schemas.microsoft.com/office/drawing/2014/main" id="{147A9E08-B316-46CE-B90D-EAE667BB57DC}"/>
                </a:ext>
              </a:extLst>
            </p:cNvPr>
            <p:cNvSpPr>
              <a:spLocks noChangeArrowheads="1"/>
            </p:cNvSpPr>
            <p:nvPr userDrawn="1"/>
          </p:nvSpPr>
          <p:spPr bwMode="auto">
            <a:xfrm>
              <a:off x="5472"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6" name="Rectangle 289">
              <a:extLst>
                <a:ext uri="{FF2B5EF4-FFF2-40B4-BE49-F238E27FC236}">
                  <a16:creationId xmlns:a16="http://schemas.microsoft.com/office/drawing/2014/main" id="{9D60D78E-2B23-4A2B-A33F-99DD5D1E0004}"/>
                </a:ext>
              </a:extLst>
            </p:cNvPr>
            <p:cNvSpPr>
              <a:spLocks noChangeArrowheads="1"/>
            </p:cNvSpPr>
            <p:nvPr userDrawn="1"/>
          </p:nvSpPr>
          <p:spPr bwMode="auto">
            <a:xfrm>
              <a:off x="0"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7" name="Rectangle 290">
              <a:extLst>
                <a:ext uri="{FF2B5EF4-FFF2-40B4-BE49-F238E27FC236}">
                  <a16:creationId xmlns:a16="http://schemas.microsoft.com/office/drawing/2014/main" id="{4583C787-6431-426D-A73D-C30FF8D7248D}"/>
                </a:ext>
              </a:extLst>
            </p:cNvPr>
            <p:cNvSpPr>
              <a:spLocks noChangeArrowheads="1"/>
            </p:cNvSpPr>
            <p:nvPr userDrawn="1"/>
          </p:nvSpPr>
          <p:spPr bwMode="auto">
            <a:xfrm>
              <a:off x="288"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8" name="Rectangle 291">
              <a:extLst>
                <a:ext uri="{FF2B5EF4-FFF2-40B4-BE49-F238E27FC236}">
                  <a16:creationId xmlns:a16="http://schemas.microsoft.com/office/drawing/2014/main" id="{651CAAD0-9D45-49DA-BA9E-B9A11A2B078B}"/>
                </a:ext>
              </a:extLst>
            </p:cNvPr>
            <p:cNvSpPr>
              <a:spLocks noChangeArrowheads="1"/>
            </p:cNvSpPr>
            <p:nvPr userDrawn="1"/>
          </p:nvSpPr>
          <p:spPr bwMode="auto">
            <a:xfrm>
              <a:off x="576"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9" name="Rectangle 292">
              <a:extLst>
                <a:ext uri="{FF2B5EF4-FFF2-40B4-BE49-F238E27FC236}">
                  <a16:creationId xmlns:a16="http://schemas.microsoft.com/office/drawing/2014/main" id="{872CB008-9539-4EE9-A52E-6D51060C8517}"/>
                </a:ext>
              </a:extLst>
            </p:cNvPr>
            <p:cNvSpPr>
              <a:spLocks noChangeArrowheads="1"/>
            </p:cNvSpPr>
            <p:nvPr userDrawn="1"/>
          </p:nvSpPr>
          <p:spPr bwMode="auto">
            <a:xfrm>
              <a:off x="864"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0" name="Rectangle 293">
              <a:extLst>
                <a:ext uri="{FF2B5EF4-FFF2-40B4-BE49-F238E27FC236}">
                  <a16:creationId xmlns:a16="http://schemas.microsoft.com/office/drawing/2014/main" id="{B3ABD300-15DB-4995-9276-448F280C2C80}"/>
                </a:ext>
              </a:extLst>
            </p:cNvPr>
            <p:cNvSpPr>
              <a:spLocks noChangeArrowheads="1"/>
            </p:cNvSpPr>
            <p:nvPr userDrawn="1"/>
          </p:nvSpPr>
          <p:spPr bwMode="auto">
            <a:xfrm>
              <a:off x="1152"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1" name="Rectangle 294">
              <a:extLst>
                <a:ext uri="{FF2B5EF4-FFF2-40B4-BE49-F238E27FC236}">
                  <a16:creationId xmlns:a16="http://schemas.microsoft.com/office/drawing/2014/main" id="{59627E9C-640C-41F4-9894-8A2A980AD072}"/>
                </a:ext>
              </a:extLst>
            </p:cNvPr>
            <p:cNvSpPr>
              <a:spLocks noChangeArrowheads="1"/>
            </p:cNvSpPr>
            <p:nvPr userDrawn="1"/>
          </p:nvSpPr>
          <p:spPr bwMode="auto">
            <a:xfrm>
              <a:off x="1440"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2" name="Rectangle 295">
              <a:extLst>
                <a:ext uri="{FF2B5EF4-FFF2-40B4-BE49-F238E27FC236}">
                  <a16:creationId xmlns:a16="http://schemas.microsoft.com/office/drawing/2014/main" id="{E1B3A1DA-6D66-4C1F-B33D-07B922D92F0C}"/>
                </a:ext>
              </a:extLst>
            </p:cNvPr>
            <p:cNvSpPr>
              <a:spLocks noChangeArrowheads="1"/>
            </p:cNvSpPr>
            <p:nvPr userDrawn="1"/>
          </p:nvSpPr>
          <p:spPr bwMode="auto">
            <a:xfrm>
              <a:off x="1728"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3" name="Rectangle 296">
              <a:extLst>
                <a:ext uri="{FF2B5EF4-FFF2-40B4-BE49-F238E27FC236}">
                  <a16:creationId xmlns:a16="http://schemas.microsoft.com/office/drawing/2014/main" id="{3A70B899-B0A1-4217-9AB0-073E50685093}"/>
                </a:ext>
              </a:extLst>
            </p:cNvPr>
            <p:cNvSpPr>
              <a:spLocks noChangeArrowheads="1"/>
            </p:cNvSpPr>
            <p:nvPr userDrawn="1"/>
          </p:nvSpPr>
          <p:spPr bwMode="auto">
            <a:xfrm>
              <a:off x="2016"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4" name="Rectangle 297">
              <a:extLst>
                <a:ext uri="{FF2B5EF4-FFF2-40B4-BE49-F238E27FC236}">
                  <a16:creationId xmlns:a16="http://schemas.microsoft.com/office/drawing/2014/main" id="{03F72C52-EE31-4509-A92C-669AC81164E7}"/>
                </a:ext>
              </a:extLst>
            </p:cNvPr>
            <p:cNvSpPr>
              <a:spLocks noChangeArrowheads="1"/>
            </p:cNvSpPr>
            <p:nvPr userDrawn="1"/>
          </p:nvSpPr>
          <p:spPr bwMode="auto">
            <a:xfrm>
              <a:off x="2304"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5" name="Rectangle 298">
              <a:extLst>
                <a:ext uri="{FF2B5EF4-FFF2-40B4-BE49-F238E27FC236}">
                  <a16:creationId xmlns:a16="http://schemas.microsoft.com/office/drawing/2014/main" id="{032AC08C-87A8-4436-8C20-587289F67BD7}"/>
                </a:ext>
              </a:extLst>
            </p:cNvPr>
            <p:cNvSpPr>
              <a:spLocks noChangeArrowheads="1"/>
            </p:cNvSpPr>
            <p:nvPr userDrawn="1"/>
          </p:nvSpPr>
          <p:spPr bwMode="auto">
            <a:xfrm>
              <a:off x="2592"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6" name="Rectangle 299">
              <a:extLst>
                <a:ext uri="{FF2B5EF4-FFF2-40B4-BE49-F238E27FC236}">
                  <a16:creationId xmlns:a16="http://schemas.microsoft.com/office/drawing/2014/main" id="{D971369A-71E4-4546-9BF4-B228F84D7AD1}"/>
                </a:ext>
              </a:extLst>
            </p:cNvPr>
            <p:cNvSpPr>
              <a:spLocks noChangeArrowheads="1"/>
            </p:cNvSpPr>
            <p:nvPr userDrawn="1"/>
          </p:nvSpPr>
          <p:spPr bwMode="auto">
            <a:xfrm>
              <a:off x="2880"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7" name="Rectangle 300">
              <a:extLst>
                <a:ext uri="{FF2B5EF4-FFF2-40B4-BE49-F238E27FC236}">
                  <a16:creationId xmlns:a16="http://schemas.microsoft.com/office/drawing/2014/main" id="{07809736-1B6B-42EE-A885-3EFDC8344562}"/>
                </a:ext>
              </a:extLst>
            </p:cNvPr>
            <p:cNvSpPr>
              <a:spLocks noChangeArrowheads="1"/>
            </p:cNvSpPr>
            <p:nvPr userDrawn="1"/>
          </p:nvSpPr>
          <p:spPr bwMode="auto">
            <a:xfrm>
              <a:off x="3168"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8" name="Rectangle 301">
              <a:extLst>
                <a:ext uri="{FF2B5EF4-FFF2-40B4-BE49-F238E27FC236}">
                  <a16:creationId xmlns:a16="http://schemas.microsoft.com/office/drawing/2014/main" id="{A7BED995-F565-440F-82EA-41F8E59CB4EF}"/>
                </a:ext>
              </a:extLst>
            </p:cNvPr>
            <p:cNvSpPr>
              <a:spLocks noChangeArrowheads="1"/>
            </p:cNvSpPr>
            <p:nvPr userDrawn="1"/>
          </p:nvSpPr>
          <p:spPr bwMode="auto">
            <a:xfrm>
              <a:off x="3456"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9" name="Rectangle 302">
              <a:extLst>
                <a:ext uri="{FF2B5EF4-FFF2-40B4-BE49-F238E27FC236}">
                  <a16:creationId xmlns:a16="http://schemas.microsoft.com/office/drawing/2014/main" id="{559E3F3D-CB43-49D2-AF13-6BF2F3B53C24}"/>
                </a:ext>
              </a:extLst>
            </p:cNvPr>
            <p:cNvSpPr>
              <a:spLocks noChangeArrowheads="1"/>
            </p:cNvSpPr>
            <p:nvPr userDrawn="1"/>
          </p:nvSpPr>
          <p:spPr bwMode="auto">
            <a:xfrm>
              <a:off x="3744"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0" name="Rectangle 303">
              <a:extLst>
                <a:ext uri="{FF2B5EF4-FFF2-40B4-BE49-F238E27FC236}">
                  <a16:creationId xmlns:a16="http://schemas.microsoft.com/office/drawing/2014/main" id="{A681BD58-A687-4A90-9C11-B36950B5BADF}"/>
                </a:ext>
              </a:extLst>
            </p:cNvPr>
            <p:cNvSpPr>
              <a:spLocks noChangeArrowheads="1"/>
            </p:cNvSpPr>
            <p:nvPr userDrawn="1"/>
          </p:nvSpPr>
          <p:spPr bwMode="auto">
            <a:xfrm>
              <a:off x="4032"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1" name="Rectangle 304">
              <a:extLst>
                <a:ext uri="{FF2B5EF4-FFF2-40B4-BE49-F238E27FC236}">
                  <a16:creationId xmlns:a16="http://schemas.microsoft.com/office/drawing/2014/main" id="{5BF6A19A-0751-4558-9288-2FFD7DA34541}"/>
                </a:ext>
              </a:extLst>
            </p:cNvPr>
            <p:cNvSpPr>
              <a:spLocks noChangeArrowheads="1"/>
            </p:cNvSpPr>
            <p:nvPr userDrawn="1"/>
          </p:nvSpPr>
          <p:spPr bwMode="auto">
            <a:xfrm>
              <a:off x="4320"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2" name="Rectangle 305">
              <a:extLst>
                <a:ext uri="{FF2B5EF4-FFF2-40B4-BE49-F238E27FC236}">
                  <a16:creationId xmlns:a16="http://schemas.microsoft.com/office/drawing/2014/main" id="{40FF26FC-E86B-4264-B425-7B934D2FFCEF}"/>
                </a:ext>
              </a:extLst>
            </p:cNvPr>
            <p:cNvSpPr>
              <a:spLocks noChangeArrowheads="1"/>
            </p:cNvSpPr>
            <p:nvPr userDrawn="1"/>
          </p:nvSpPr>
          <p:spPr bwMode="auto">
            <a:xfrm>
              <a:off x="4608"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3" name="Rectangle 306">
              <a:extLst>
                <a:ext uri="{FF2B5EF4-FFF2-40B4-BE49-F238E27FC236}">
                  <a16:creationId xmlns:a16="http://schemas.microsoft.com/office/drawing/2014/main" id="{58082335-EF84-4033-8FFA-1D7B5FF24C1D}"/>
                </a:ext>
              </a:extLst>
            </p:cNvPr>
            <p:cNvSpPr>
              <a:spLocks noChangeArrowheads="1"/>
            </p:cNvSpPr>
            <p:nvPr userDrawn="1"/>
          </p:nvSpPr>
          <p:spPr bwMode="auto">
            <a:xfrm>
              <a:off x="4896"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4" name="Rectangle 307">
              <a:extLst>
                <a:ext uri="{FF2B5EF4-FFF2-40B4-BE49-F238E27FC236}">
                  <a16:creationId xmlns:a16="http://schemas.microsoft.com/office/drawing/2014/main" id="{33813C7D-AE04-420F-A110-C01949794646}"/>
                </a:ext>
              </a:extLst>
            </p:cNvPr>
            <p:cNvSpPr>
              <a:spLocks noChangeArrowheads="1"/>
            </p:cNvSpPr>
            <p:nvPr userDrawn="1"/>
          </p:nvSpPr>
          <p:spPr bwMode="auto">
            <a:xfrm>
              <a:off x="5184"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5" name="Rectangle 308">
              <a:extLst>
                <a:ext uri="{FF2B5EF4-FFF2-40B4-BE49-F238E27FC236}">
                  <a16:creationId xmlns:a16="http://schemas.microsoft.com/office/drawing/2014/main" id="{FC1E4629-0F31-4690-8EE3-0B6521A0103E}"/>
                </a:ext>
              </a:extLst>
            </p:cNvPr>
            <p:cNvSpPr>
              <a:spLocks noChangeArrowheads="1"/>
            </p:cNvSpPr>
            <p:nvPr userDrawn="1"/>
          </p:nvSpPr>
          <p:spPr bwMode="auto">
            <a:xfrm>
              <a:off x="5472"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6" name="Rectangle 310">
              <a:extLst>
                <a:ext uri="{FF2B5EF4-FFF2-40B4-BE49-F238E27FC236}">
                  <a16:creationId xmlns:a16="http://schemas.microsoft.com/office/drawing/2014/main" id="{4860410E-817B-4E63-AFFD-23D9F7E64A21}"/>
                </a:ext>
              </a:extLst>
            </p:cNvPr>
            <p:cNvSpPr>
              <a:spLocks noChangeArrowheads="1"/>
            </p:cNvSpPr>
            <p:nvPr userDrawn="1"/>
          </p:nvSpPr>
          <p:spPr bwMode="auto">
            <a:xfrm>
              <a:off x="0"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7" name="Rectangle 311">
              <a:extLst>
                <a:ext uri="{FF2B5EF4-FFF2-40B4-BE49-F238E27FC236}">
                  <a16:creationId xmlns:a16="http://schemas.microsoft.com/office/drawing/2014/main" id="{2E74AEEC-555A-4D47-A595-A7CEACC784B2}"/>
                </a:ext>
              </a:extLst>
            </p:cNvPr>
            <p:cNvSpPr>
              <a:spLocks noChangeArrowheads="1"/>
            </p:cNvSpPr>
            <p:nvPr userDrawn="1"/>
          </p:nvSpPr>
          <p:spPr bwMode="auto">
            <a:xfrm>
              <a:off x="288"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8" name="Rectangle 312">
              <a:extLst>
                <a:ext uri="{FF2B5EF4-FFF2-40B4-BE49-F238E27FC236}">
                  <a16:creationId xmlns:a16="http://schemas.microsoft.com/office/drawing/2014/main" id="{96AD248C-A45D-44C7-9B88-601644F6019E}"/>
                </a:ext>
              </a:extLst>
            </p:cNvPr>
            <p:cNvSpPr>
              <a:spLocks noChangeArrowheads="1"/>
            </p:cNvSpPr>
            <p:nvPr userDrawn="1"/>
          </p:nvSpPr>
          <p:spPr bwMode="auto">
            <a:xfrm>
              <a:off x="576"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9" name="Rectangle 313">
              <a:extLst>
                <a:ext uri="{FF2B5EF4-FFF2-40B4-BE49-F238E27FC236}">
                  <a16:creationId xmlns:a16="http://schemas.microsoft.com/office/drawing/2014/main" id="{DB1D1312-6166-476B-BF88-23ABE7F35566}"/>
                </a:ext>
              </a:extLst>
            </p:cNvPr>
            <p:cNvSpPr>
              <a:spLocks noChangeArrowheads="1"/>
            </p:cNvSpPr>
            <p:nvPr userDrawn="1"/>
          </p:nvSpPr>
          <p:spPr bwMode="auto">
            <a:xfrm>
              <a:off x="864"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0" name="Rectangle 314">
              <a:extLst>
                <a:ext uri="{FF2B5EF4-FFF2-40B4-BE49-F238E27FC236}">
                  <a16:creationId xmlns:a16="http://schemas.microsoft.com/office/drawing/2014/main" id="{142DE1E5-8C6C-4B6F-A6EC-DC20D5AB754D}"/>
                </a:ext>
              </a:extLst>
            </p:cNvPr>
            <p:cNvSpPr>
              <a:spLocks noChangeArrowheads="1"/>
            </p:cNvSpPr>
            <p:nvPr userDrawn="1"/>
          </p:nvSpPr>
          <p:spPr bwMode="auto">
            <a:xfrm>
              <a:off x="1152"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1" name="Rectangle 315">
              <a:extLst>
                <a:ext uri="{FF2B5EF4-FFF2-40B4-BE49-F238E27FC236}">
                  <a16:creationId xmlns:a16="http://schemas.microsoft.com/office/drawing/2014/main" id="{D905F7B1-72C3-4B8C-BA4D-505722B9D585}"/>
                </a:ext>
              </a:extLst>
            </p:cNvPr>
            <p:cNvSpPr>
              <a:spLocks noChangeArrowheads="1"/>
            </p:cNvSpPr>
            <p:nvPr userDrawn="1"/>
          </p:nvSpPr>
          <p:spPr bwMode="auto">
            <a:xfrm>
              <a:off x="1440"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2" name="Rectangle 316">
              <a:extLst>
                <a:ext uri="{FF2B5EF4-FFF2-40B4-BE49-F238E27FC236}">
                  <a16:creationId xmlns:a16="http://schemas.microsoft.com/office/drawing/2014/main" id="{32CEA3A5-D3ED-4B6D-9EC3-AD8D19F9A9B9}"/>
                </a:ext>
              </a:extLst>
            </p:cNvPr>
            <p:cNvSpPr>
              <a:spLocks noChangeArrowheads="1"/>
            </p:cNvSpPr>
            <p:nvPr userDrawn="1"/>
          </p:nvSpPr>
          <p:spPr bwMode="auto">
            <a:xfrm>
              <a:off x="1728"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3" name="Rectangle 317">
              <a:extLst>
                <a:ext uri="{FF2B5EF4-FFF2-40B4-BE49-F238E27FC236}">
                  <a16:creationId xmlns:a16="http://schemas.microsoft.com/office/drawing/2014/main" id="{B7E9D839-21AD-4BF4-BA8A-0CD765CBC554}"/>
                </a:ext>
              </a:extLst>
            </p:cNvPr>
            <p:cNvSpPr>
              <a:spLocks noChangeArrowheads="1"/>
            </p:cNvSpPr>
            <p:nvPr userDrawn="1"/>
          </p:nvSpPr>
          <p:spPr bwMode="auto">
            <a:xfrm>
              <a:off x="2016"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4" name="Rectangle 318">
              <a:extLst>
                <a:ext uri="{FF2B5EF4-FFF2-40B4-BE49-F238E27FC236}">
                  <a16:creationId xmlns:a16="http://schemas.microsoft.com/office/drawing/2014/main" id="{9D717490-E511-4659-940F-B3CDC2835270}"/>
                </a:ext>
              </a:extLst>
            </p:cNvPr>
            <p:cNvSpPr>
              <a:spLocks noChangeArrowheads="1"/>
            </p:cNvSpPr>
            <p:nvPr userDrawn="1"/>
          </p:nvSpPr>
          <p:spPr bwMode="auto">
            <a:xfrm>
              <a:off x="2304"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5" name="Rectangle 319">
              <a:extLst>
                <a:ext uri="{FF2B5EF4-FFF2-40B4-BE49-F238E27FC236}">
                  <a16:creationId xmlns:a16="http://schemas.microsoft.com/office/drawing/2014/main" id="{CB8FB616-701A-433D-93F4-CED13AC80C46}"/>
                </a:ext>
              </a:extLst>
            </p:cNvPr>
            <p:cNvSpPr>
              <a:spLocks noChangeArrowheads="1"/>
            </p:cNvSpPr>
            <p:nvPr userDrawn="1"/>
          </p:nvSpPr>
          <p:spPr bwMode="auto">
            <a:xfrm>
              <a:off x="2592"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6" name="Rectangle 320">
              <a:extLst>
                <a:ext uri="{FF2B5EF4-FFF2-40B4-BE49-F238E27FC236}">
                  <a16:creationId xmlns:a16="http://schemas.microsoft.com/office/drawing/2014/main" id="{0773EB58-9646-4122-818A-624E695FAB84}"/>
                </a:ext>
              </a:extLst>
            </p:cNvPr>
            <p:cNvSpPr>
              <a:spLocks noChangeArrowheads="1"/>
            </p:cNvSpPr>
            <p:nvPr userDrawn="1"/>
          </p:nvSpPr>
          <p:spPr bwMode="auto">
            <a:xfrm>
              <a:off x="2880"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7" name="Rectangle 321">
              <a:extLst>
                <a:ext uri="{FF2B5EF4-FFF2-40B4-BE49-F238E27FC236}">
                  <a16:creationId xmlns:a16="http://schemas.microsoft.com/office/drawing/2014/main" id="{012DD43C-76D5-40A5-88D2-2C16A3A06607}"/>
                </a:ext>
              </a:extLst>
            </p:cNvPr>
            <p:cNvSpPr>
              <a:spLocks noChangeArrowheads="1"/>
            </p:cNvSpPr>
            <p:nvPr userDrawn="1"/>
          </p:nvSpPr>
          <p:spPr bwMode="auto">
            <a:xfrm>
              <a:off x="3168"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8" name="Rectangle 322">
              <a:extLst>
                <a:ext uri="{FF2B5EF4-FFF2-40B4-BE49-F238E27FC236}">
                  <a16:creationId xmlns:a16="http://schemas.microsoft.com/office/drawing/2014/main" id="{427ED0E8-DA84-4FEF-893A-70BBA3454B79}"/>
                </a:ext>
              </a:extLst>
            </p:cNvPr>
            <p:cNvSpPr>
              <a:spLocks noChangeArrowheads="1"/>
            </p:cNvSpPr>
            <p:nvPr userDrawn="1"/>
          </p:nvSpPr>
          <p:spPr bwMode="auto">
            <a:xfrm>
              <a:off x="3456"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9" name="Rectangle 323">
              <a:extLst>
                <a:ext uri="{FF2B5EF4-FFF2-40B4-BE49-F238E27FC236}">
                  <a16:creationId xmlns:a16="http://schemas.microsoft.com/office/drawing/2014/main" id="{99FFE425-7E3C-4F19-B077-9B1D451A4867}"/>
                </a:ext>
              </a:extLst>
            </p:cNvPr>
            <p:cNvSpPr>
              <a:spLocks noChangeArrowheads="1"/>
            </p:cNvSpPr>
            <p:nvPr userDrawn="1"/>
          </p:nvSpPr>
          <p:spPr bwMode="auto">
            <a:xfrm>
              <a:off x="3744"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0" name="Rectangle 324">
              <a:extLst>
                <a:ext uri="{FF2B5EF4-FFF2-40B4-BE49-F238E27FC236}">
                  <a16:creationId xmlns:a16="http://schemas.microsoft.com/office/drawing/2014/main" id="{67D476A9-5205-4097-90BE-39EBB6B00E5E}"/>
                </a:ext>
              </a:extLst>
            </p:cNvPr>
            <p:cNvSpPr>
              <a:spLocks noChangeArrowheads="1"/>
            </p:cNvSpPr>
            <p:nvPr userDrawn="1"/>
          </p:nvSpPr>
          <p:spPr bwMode="auto">
            <a:xfrm>
              <a:off x="4032"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1" name="Rectangle 325">
              <a:extLst>
                <a:ext uri="{FF2B5EF4-FFF2-40B4-BE49-F238E27FC236}">
                  <a16:creationId xmlns:a16="http://schemas.microsoft.com/office/drawing/2014/main" id="{C6F3A2C8-5756-4CDD-830C-4B8AB8FFFB3E}"/>
                </a:ext>
              </a:extLst>
            </p:cNvPr>
            <p:cNvSpPr>
              <a:spLocks noChangeArrowheads="1"/>
            </p:cNvSpPr>
            <p:nvPr userDrawn="1"/>
          </p:nvSpPr>
          <p:spPr bwMode="auto">
            <a:xfrm>
              <a:off x="4320"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2" name="Rectangle 326">
              <a:extLst>
                <a:ext uri="{FF2B5EF4-FFF2-40B4-BE49-F238E27FC236}">
                  <a16:creationId xmlns:a16="http://schemas.microsoft.com/office/drawing/2014/main" id="{94343D9A-0C66-4A7D-8FC2-C1C706267429}"/>
                </a:ext>
              </a:extLst>
            </p:cNvPr>
            <p:cNvSpPr>
              <a:spLocks noChangeArrowheads="1"/>
            </p:cNvSpPr>
            <p:nvPr userDrawn="1"/>
          </p:nvSpPr>
          <p:spPr bwMode="auto">
            <a:xfrm>
              <a:off x="4608"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3" name="Rectangle 327">
              <a:extLst>
                <a:ext uri="{FF2B5EF4-FFF2-40B4-BE49-F238E27FC236}">
                  <a16:creationId xmlns:a16="http://schemas.microsoft.com/office/drawing/2014/main" id="{037911ED-8584-48D4-9190-A0500F95DC7A}"/>
                </a:ext>
              </a:extLst>
            </p:cNvPr>
            <p:cNvSpPr>
              <a:spLocks noChangeArrowheads="1"/>
            </p:cNvSpPr>
            <p:nvPr userDrawn="1"/>
          </p:nvSpPr>
          <p:spPr bwMode="auto">
            <a:xfrm>
              <a:off x="4896"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4" name="Rectangle 328">
              <a:extLst>
                <a:ext uri="{FF2B5EF4-FFF2-40B4-BE49-F238E27FC236}">
                  <a16:creationId xmlns:a16="http://schemas.microsoft.com/office/drawing/2014/main" id="{15F95228-B995-4A96-AD9A-1DBD183F888F}"/>
                </a:ext>
              </a:extLst>
            </p:cNvPr>
            <p:cNvSpPr>
              <a:spLocks noChangeArrowheads="1"/>
            </p:cNvSpPr>
            <p:nvPr userDrawn="1"/>
          </p:nvSpPr>
          <p:spPr bwMode="auto">
            <a:xfrm>
              <a:off x="5184"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5" name="Rectangle 329">
              <a:extLst>
                <a:ext uri="{FF2B5EF4-FFF2-40B4-BE49-F238E27FC236}">
                  <a16:creationId xmlns:a16="http://schemas.microsoft.com/office/drawing/2014/main" id="{D5025191-0EA7-4719-8236-3C39A592F7AE}"/>
                </a:ext>
              </a:extLst>
            </p:cNvPr>
            <p:cNvSpPr>
              <a:spLocks noChangeArrowheads="1"/>
            </p:cNvSpPr>
            <p:nvPr userDrawn="1"/>
          </p:nvSpPr>
          <p:spPr bwMode="auto">
            <a:xfrm>
              <a:off x="5472"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6" name="Rectangle 371">
              <a:extLst>
                <a:ext uri="{FF2B5EF4-FFF2-40B4-BE49-F238E27FC236}">
                  <a16:creationId xmlns:a16="http://schemas.microsoft.com/office/drawing/2014/main" id="{FADBA513-89CC-4077-8AB8-A0F46F4B578B}"/>
                </a:ext>
              </a:extLst>
            </p:cNvPr>
            <p:cNvSpPr>
              <a:spLocks noChangeArrowheads="1"/>
            </p:cNvSpPr>
            <p:nvPr userDrawn="1"/>
          </p:nvSpPr>
          <p:spPr bwMode="auto">
            <a:xfrm>
              <a:off x="0" y="0"/>
              <a:ext cx="1728" cy="2016"/>
            </a:xfrm>
            <a:prstGeom prst="rect">
              <a:avLst/>
            </a:prstGeom>
            <a:solidFill>
              <a:srgbClr val="29539B"/>
            </a:solidFill>
            <a:ln>
              <a:noFill/>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grpSp>
      <p:sp>
        <p:nvSpPr>
          <p:cNvPr id="267" name="Oval 385">
            <a:extLst>
              <a:ext uri="{FF2B5EF4-FFF2-40B4-BE49-F238E27FC236}">
                <a16:creationId xmlns:a16="http://schemas.microsoft.com/office/drawing/2014/main" id="{2F1926CD-4B8F-42AC-80BD-224D7B691FF7}"/>
              </a:ext>
            </a:extLst>
          </p:cNvPr>
          <p:cNvSpPr>
            <a:spLocks noChangeArrowheads="1"/>
          </p:cNvSpPr>
          <p:nvPr/>
        </p:nvSpPr>
        <p:spPr bwMode="auto">
          <a:xfrm>
            <a:off x="-533400" y="0"/>
            <a:ext cx="6096000" cy="6096000"/>
          </a:xfrm>
          <a:prstGeom prst="ellipse">
            <a:avLst/>
          </a:prstGeom>
          <a:solidFill>
            <a:schemeClr val="bg1"/>
          </a:solidFill>
          <a:ln w="9525">
            <a:solidFill>
              <a:srgbClr val="29539B"/>
            </a:solidFill>
            <a:round/>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lgn="ctr">
              <a:defRPr/>
            </a:pPr>
            <a:endParaRPr lang="en-US" altLang="en-US"/>
          </a:p>
        </p:txBody>
      </p:sp>
      <p:sp>
        <p:nvSpPr>
          <p:cNvPr id="30082" name="Rectangle 386"/>
          <p:cNvSpPr>
            <a:spLocks noGrp="1" noChangeArrowheads="1"/>
          </p:cNvSpPr>
          <p:nvPr>
            <p:ph type="ctrTitle"/>
          </p:nvPr>
        </p:nvSpPr>
        <p:spPr>
          <a:xfrm>
            <a:off x="381001" y="1981200"/>
            <a:ext cx="4876800" cy="1143000"/>
          </a:xfrm>
        </p:spPr>
        <p:txBody>
          <a:bodyPr anchor="t"/>
          <a:lstStyle>
            <a:lvl1pPr>
              <a:lnSpc>
                <a:spcPct val="90000"/>
              </a:lnSpc>
              <a:defRPr sz="3800">
                <a:solidFill>
                  <a:schemeClr val="accent2"/>
                </a:solidFill>
              </a:defRPr>
            </a:lvl1pPr>
          </a:lstStyle>
          <a:p>
            <a:r>
              <a:rPr lang="en-US"/>
              <a:t>Click to edit Master title style</a:t>
            </a:r>
          </a:p>
        </p:txBody>
      </p:sp>
      <p:sp>
        <p:nvSpPr>
          <p:cNvPr id="30083" name="Rectangle 387"/>
          <p:cNvSpPr>
            <a:spLocks noGrp="1" noChangeArrowheads="1"/>
          </p:cNvSpPr>
          <p:nvPr>
            <p:ph type="subTitle" idx="1"/>
          </p:nvPr>
        </p:nvSpPr>
        <p:spPr>
          <a:xfrm>
            <a:off x="381000" y="3200400"/>
            <a:ext cx="5257800" cy="1066800"/>
          </a:xfrm>
        </p:spPr>
        <p:txBody>
          <a:bodyPr/>
          <a:lstStyle>
            <a:lvl1pPr marL="0" indent="0">
              <a:buFont typeface="Wingdings" pitchFamily="2" charset="2"/>
              <a:buNone/>
              <a:defRPr sz="1400" b="1">
                <a:solidFill>
                  <a:schemeClr val="folHlink"/>
                </a:solidFill>
              </a:defRPr>
            </a:lvl1pPr>
          </a:lstStyle>
          <a:p>
            <a:r>
              <a:rPr lang="en-US"/>
              <a:t>Click to edit Master subtitle style</a:t>
            </a:r>
          </a:p>
        </p:txBody>
      </p:sp>
    </p:spTree>
    <p:extLst>
      <p:ext uri="{BB962C8B-B14F-4D97-AF65-F5344CB8AC3E}">
        <p14:creationId xmlns:p14="http://schemas.microsoft.com/office/powerpoint/2010/main" val="2286586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7809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0559" y="152909"/>
            <a:ext cx="2076451" cy="5745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5" y="152909"/>
            <a:ext cx="6076951" cy="5745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3163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81001" y="152400"/>
            <a:ext cx="6477000" cy="685800"/>
          </a:xfrm>
        </p:spPr>
        <p:txBody>
          <a:bodyPr/>
          <a:lstStyle/>
          <a:p>
            <a:r>
              <a:rPr lang="en-US"/>
              <a:t>Click to edit Master title style</a:t>
            </a:r>
          </a:p>
        </p:txBody>
      </p:sp>
      <p:sp>
        <p:nvSpPr>
          <p:cNvPr id="3" name="Content Placeholder 2"/>
          <p:cNvSpPr>
            <a:spLocks noGrp="1"/>
          </p:cNvSpPr>
          <p:nvPr>
            <p:ph sz="quarter" idx="1"/>
          </p:nvPr>
        </p:nvSpPr>
        <p:spPr>
          <a:xfrm>
            <a:off x="457405" y="1371601"/>
            <a:ext cx="40386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371601"/>
            <a:ext cx="40386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57405" y="3710497"/>
            <a:ext cx="40386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8200" y="3710497"/>
            <a:ext cx="40386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2553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81001" y="152400"/>
            <a:ext cx="6477000" cy="685800"/>
          </a:xfrm>
        </p:spPr>
        <p:txBody>
          <a:bodyPr/>
          <a:lstStyle/>
          <a:p>
            <a:r>
              <a:rPr lang="en-US"/>
              <a:t>Click to edit Master title style</a:t>
            </a:r>
          </a:p>
        </p:txBody>
      </p:sp>
      <p:sp>
        <p:nvSpPr>
          <p:cNvPr id="3" name="Table Placeholder 2"/>
          <p:cNvSpPr>
            <a:spLocks noGrp="1"/>
          </p:cNvSpPr>
          <p:nvPr>
            <p:ph type="tbl" idx="1"/>
          </p:nvPr>
        </p:nvSpPr>
        <p:spPr>
          <a:xfrm>
            <a:off x="457405" y="1371607"/>
            <a:ext cx="8229600" cy="4525963"/>
          </a:xfrm>
        </p:spPr>
        <p:txBody>
          <a:bodyPr/>
          <a:lstStyle/>
          <a:p>
            <a:pPr lvl="0"/>
            <a:endParaRPr lang="en-US" noProof="0"/>
          </a:p>
        </p:txBody>
      </p:sp>
    </p:spTree>
    <p:extLst>
      <p:ext uri="{BB962C8B-B14F-4D97-AF65-F5344CB8AC3E}">
        <p14:creationId xmlns:p14="http://schemas.microsoft.com/office/powerpoint/2010/main" val="23516899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D84916-3666-B548-ADFA-6C25B332E85D}"/>
              </a:ext>
            </a:extLst>
          </p:cNvPr>
          <p:cNvSpPr>
            <a:spLocks noGrp="1"/>
          </p:cNvSpPr>
          <p:nvPr>
            <p:ph type="pic" sz="quarter" idx="10"/>
          </p:nvPr>
        </p:nvSpPr>
        <p:spPr>
          <a:xfrm>
            <a:off x="-3317" y="0"/>
            <a:ext cx="5370910" cy="6858000"/>
          </a:xfrm>
          <a:prstGeom prst="rect">
            <a:avLst/>
          </a:prstGeom>
          <a:solidFill>
            <a:schemeClr val="accent6"/>
          </a:solidFill>
        </p:spPr>
        <p:txBody>
          <a:bodyPr anchor="ctr" anchorCtr="1"/>
          <a:lstStyle>
            <a:lvl1pPr marL="0" indent="0">
              <a:buNone/>
              <a:defRPr b="0" i="0">
                <a:solidFill>
                  <a:schemeClr val="bg1"/>
                </a:solidFill>
                <a:latin typeface="Apercu Pro Medium" panose="020B0503050601040103" pitchFamily="34" charset="0"/>
              </a:defRPr>
            </a:lvl1pPr>
          </a:lstStyle>
          <a:p>
            <a:pPr lvl="0"/>
            <a:r>
              <a:rPr lang="en-US" noProof="0"/>
              <a:t>Click icon to add picture</a:t>
            </a:r>
            <a:endParaRPr lang="en-US" noProof="0" dirty="0"/>
          </a:p>
        </p:txBody>
      </p:sp>
      <p:sp>
        <p:nvSpPr>
          <p:cNvPr id="9" name="Text Placeholder 8">
            <a:extLst>
              <a:ext uri="{FF2B5EF4-FFF2-40B4-BE49-F238E27FC236}">
                <a16:creationId xmlns:a16="http://schemas.microsoft.com/office/drawing/2014/main" id="{F4D91641-E1EB-2A41-BD57-7A4CED6AF10D}"/>
              </a:ext>
            </a:extLst>
          </p:cNvPr>
          <p:cNvSpPr>
            <a:spLocks noGrp="1"/>
          </p:cNvSpPr>
          <p:nvPr>
            <p:ph type="body" sz="quarter" idx="11"/>
          </p:nvPr>
        </p:nvSpPr>
        <p:spPr>
          <a:xfrm>
            <a:off x="76486" y="4343684"/>
            <a:ext cx="4248150" cy="646332"/>
          </a:xfrm>
          <a:prstGeom prst="rect">
            <a:avLst/>
          </a:prstGeom>
        </p:spPr>
        <p:txBody>
          <a:bodyPr/>
          <a:lstStyle>
            <a:lvl1pPr marL="0" indent="0">
              <a:buNone/>
              <a:defRPr sz="2700" b="0" i="0">
                <a:solidFill>
                  <a:schemeClr val="bg1"/>
                </a:solidFill>
                <a:latin typeface="Apercu Pro Light" panose="020B0303050601040103" pitchFamily="34" charset="0"/>
              </a:defRPr>
            </a:lvl1pPr>
          </a:lstStyle>
          <a:p>
            <a:pPr lvl="0"/>
            <a:r>
              <a:rPr lang="en-US"/>
              <a:t>Edit Master text styles</a:t>
            </a:r>
          </a:p>
        </p:txBody>
      </p:sp>
      <p:sp>
        <p:nvSpPr>
          <p:cNvPr id="10" name="Text Placeholder 8">
            <a:extLst>
              <a:ext uri="{FF2B5EF4-FFF2-40B4-BE49-F238E27FC236}">
                <a16:creationId xmlns:a16="http://schemas.microsoft.com/office/drawing/2014/main" id="{AFA31B57-9C38-0740-AC1D-ABF5CCEDF8B1}"/>
              </a:ext>
            </a:extLst>
          </p:cNvPr>
          <p:cNvSpPr>
            <a:spLocks noGrp="1"/>
          </p:cNvSpPr>
          <p:nvPr>
            <p:ph type="body" sz="quarter" idx="12"/>
          </p:nvPr>
        </p:nvSpPr>
        <p:spPr>
          <a:xfrm>
            <a:off x="63563" y="4856186"/>
            <a:ext cx="4248150" cy="646332"/>
          </a:xfrm>
          <a:prstGeom prst="rect">
            <a:avLst/>
          </a:prstGeom>
        </p:spPr>
        <p:txBody>
          <a:bodyPr/>
          <a:lstStyle>
            <a:lvl1pPr marL="0" indent="0">
              <a:buNone/>
              <a:defRPr sz="4050" b="0" i="0" cap="all" baseline="0">
                <a:solidFill>
                  <a:schemeClr val="bg1"/>
                </a:solidFill>
                <a:latin typeface="Apercu Pro Medium" panose="020B0503050601040103" pitchFamily="34" charset="0"/>
              </a:defRPr>
            </a:lvl1pPr>
          </a:lstStyle>
          <a:p>
            <a:pPr lvl="0"/>
            <a:r>
              <a:rPr lang="en-US"/>
              <a:t>Edit Master text styles</a:t>
            </a:r>
          </a:p>
        </p:txBody>
      </p:sp>
      <p:sp>
        <p:nvSpPr>
          <p:cNvPr id="11" name="Text Placeholder 8">
            <a:extLst>
              <a:ext uri="{FF2B5EF4-FFF2-40B4-BE49-F238E27FC236}">
                <a16:creationId xmlns:a16="http://schemas.microsoft.com/office/drawing/2014/main" id="{3F7B5F6B-318F-714E-B956-29CD224D4DD2}"/>
              </a:ext>
            </a:extLst>
          </p:cNvPr>
          <p:cNvSpPr>
            <a:spLocks noGrp="1"/>
          </p:cNvSpPr>
          <p:nvPr>
            <p:ph type="body" sz="quarter" idx="13"/>
          </p:nvPr>
        </p:nvSpPr>
        <p:spPr>
          <a:xfrm>
            <a:off x="90282" y="5653238"/>
            <a:ext cx="4252167" cy="361782"/>
          </a:xfrm>
          <a:prstGeom prst="rect">
            <a:avLst/>
          </a:prstGeom>
        </p:spPr>
        <p:txBody>
          <a:bodyPr/>
          <a:lstStyle>
            <a:lvl1pPr marL="0" indent="0">
              <a:buNone/>
              <a:defRPr sz="1200" b="0" i="0">
                <a:solidFill>
                  <a:schemeClr val="bg1"/>
                </a:solidFill>
                <a:latin typeface="Apercu Pro Light" panose="020B0303050601040103" pitchFamily="34" charset="0"/>
              </a:defRPr>
            </a:lvl1pPr>
          </a:lstStyle>
          <a:p>
            <a:pPr lvl="0"/>
            <a:r>
              <a:rPr lang="en-US"/>
              <a:t>Edit Master text styles</a:t>
            </a:r>
          </a:p>
        </p:txBody>
      </p:sp>
    </p:spTree>
    <p:extLst>
      <p:ext uri="{BB962C8B-B14F-4D97-AF65-F5344CB8AC3E}">
        <p14:creationId xmlns:p14="http://schemas.microsoft.com/office/powerpoint/2010/main" val="4203341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7" name="bg object 17"/>
          <p:cNvSpPr/>
          <p:nvPr/>
        </p:nvSpPr>
        <p:spPr>
          <a:xfrm>
            <a:off x="7590262" y="6307195"/>
            <a:ext cx="1072296" cy="83974"/>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8" name="bg object 18"/>
          <p:cNvSpPr/>
          <p:nvPr/>
        </p:nvSpPr>
        <p:spPr>
          <a:xfrm>
            <a:off x="7587995" y="6425004"/>
            <a:ext cx="1083141" cy="314164"/>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9" name="bg object 19"/>
          <p:cNvSpPr/>
          <p:nvPr/>
        </p:nvSpPr>
        <p:spPr>
          <a:xfrm>
            <a:off x="8722793" y="6306583"/>
            <a:ext cx="323215" cy="430530"/>
          </a:xfrm>
          <a:custGeom>
            <a:avLst/>
            <a:gdLst/>
            <a:ahLst/>
            <a:cxnLst/>
            <a:rect l="l" t="t" r="r" b="b"/>
            <a:pathLst>
              <a:path w="323215" h="430529">
                <a:moveTo>
                  <a:pt x="323166" y="0"/>
                </a:moveTo>
                <a:lnTo>
                  <a:pt x="0" y="0"/>
                </a:lnTo>
                <a:lnTo>
                  <a:pt x="0" y="430168"/>
                </a:lnTo>
                <a:lnTo>
                  <a:pt x="323166" y="430168"/>
                </a:lnTo>
                <a:lnTo>
                  <a:pt x="323166" y="375793"/>
                </a:lnTo>
                <a:lnTo>
                  <a:pt x="96545" y="375793"/>
                </a:lnTo>
                <a:lnTo>
                  <a:pt x="96545" y="335312"/>
                </a:lnTo>
                <a:lnTo>
                  <a:pt x="97028" y="335312"/>
                </a:lnTo>
                <a:lnTo>
                  <a:pt x="111489" y="331186"/>
                </a:lnTo>
                <a:lnTo>
                  <a:pt x="123452" y="319981"/>
                </a:lnTo>
                <a:lnTo>
                  <a:pt x="131598" y="303452"/>
                </a:lnTo>
                <a:lnTo>
                  <a:pt x="134607" y="283353"/>
                </a:lnTo>
                <a:lnTo>
                  <a:pt x="134607" y="162527"/>
                </a:lnTo>
                <a:lnTo>
                  <a:pt x="40841" y="162527"/>
                </a:lnTo>
                <a:lnTo>
                  <a:pt x="40841" y="53776"/>
                </a:lnTo>
                <a:lnTo>
                  <a:pt x="323166" y="53776"/>
                </a:lnTo>
                <a:lnTo>
                  <a:pt x="323166" y="0"/>
                </a:lnTo>
                <a:close/>
              </a:path>
              <a:path w="323215" h="430529">
                <a:moveTo>
                  <a:pt x="218948" y="126271"/>
                </a:moveTo>
                <a:lnTo>
                  <a:pt x="209229" y="127877"/>
                </a:lnTo>
                <a:lnTo>
                  <a:pt x="200695" y="132315"/>
                </a:lnTo>
                <a:lnTo>
                  <a:pt x="193689" y="139018"/>
                </a:lnTo>
                <a:lnTo>
                  <a:pt x="188558" y="147420"/>
                </a:lnTo>
                <a:lnTo>
                  <a:pt x="188558" y="283353"/>
                </a:lnTo>
                <a:lnTo>
                  <a:pt x="191568" y="303452"/>
                </a:lnTo>
                <a:lnTo>
                  <a:pt x="199720" y="319981"/>
                </a:lnTo>
                <a:lnTo>
                  <a:pt x="211702" y="331186"/>
                </a:lnTo>
                <a:lnTo>
                  <a:pt x="226198" y="335312"/>
                </a:lnTo>
                <a:lnTo>
                  <a:pt x="226621" y="335312"/>
                </a:lnTo>
                <a:lnTo>
                  <a:pt x="226621" y="375793"/>
                </a:lnTo>
                <a:lnTo>
                  <a:pt x="323166" y="375793"/>
                </a:lnTo>
                <a:lnTo>
                  <a:pt x="323166" y="162527"/>
                </a:lnTo>
                <a:lnTo>
                  <a:pt x="251995" y="162527"/>
                </a:lnTo>
                <a:lnTo>
                  <a:pt x="249381" y="148449"/>
                </a:lnTo>
                <a:lnTo>
                  <a:pt x="242268" y="136921"/>
                </a:lnTo>
                <a:lnTo>
                  <a:pt x="231758" y="129132"/>
                </a:lnTo>
                <a:lnTo>
                  <a:pt x="218948" y="126271"/>
                </a:lnTo>
                <a:close/>
              </a:path>
              <a:path w="323215" h="430529">
                <a:moveTo>
                  <a:pt x="104278" y="126271"/>
                </a:moveTo>
                <a:lnTo>
                  <a:pt x="91458" y="129132"/>
                </a:lnTo>
                <a:lnTo>
                  <a:pt x="80927" y="136921"/>
                </a:lnTo>
                <a:lnTo>
                  <a:pt x="73794" y="148449"/>
                </a:lnTo>
                <a:lnTo>
                  <a:pt x="71170" y="162527"/>
                </a:lnTo>
                <a:lnTo>
                  <a:pt x="134607" y="162527"/>
                </a:lnTo>
                <a:lnTo>
                  <a:pt x="134607" y="147420"/>
                </a:lnTo>
                <a:lnTo>
                  <a:pt x="129486" y="139018"/>
                </a:lnTo>
                <a:lnTo>
                  <a:pt x="122501" y="132315"/>
                </a:lnTo>
                <a:lnTo>
                  <a:pt x="113987" y="127877"/>
                </a:lnTo>
                <a:lnTo>
                  <a:pt x="104278" y="126271"/>
                </a:lnTo>
                <a:close/>
              </a:path>
              <a:path w="323215" h="430529">
                <a:moveTo>
                  <a:pt x="323166" y="53776"/>
                </a:moveTo>
                <a:lnTo>
                  <a:pt x="282385" y="53776"/>
                </a:lnTo>
                <a:lnTo>
                  <a:pt x="282385" y="162527"/>
                </a:lnTo>
                <a:lnTo>
                  <a:pt x="323166" y="162527"/>
                </a:lnTo>
                <a:lnTo>
                  <a:pt x="323166" y="53776"/>
                </a:lnTo>
                <a:close/>
              </a:path>
            </a:pathLst>
          </a:custGeom>
          <a:solidFill>
            <a:srgbClr val="FDFDFD"/>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5400" b="1" i="0">
                <a:solidFill>
                  <a:schemeClr val="bg1"/>
                </a:solidFill>
                <a:latin typeface="Garamond"/>
                <a:cs typeface="Garamond"/>
              </a:defRPr>
            </a:lvl1pPr>
          </a:lstStyle>
          <a:p>
            <a:endParaRPr/>
          </a:p>
        </p:txBody>
      </p:sp>
      <p:sp>
        <p:nvSpPr>
          <p:cNvPr id="3" name="Holder 3"/>
          <p:cNvSpPr>
            <a:spLocks noGrp="1"/>
          </p:cNvSpPr>
          <p:nvPr>
            <p:ph type="body" idx="1"/>
          </p:nvPr>
        </p:nvSpPr>
        <p:spPr/>
        <p:txBody>
          <a:bodyPr lIns="0" tIns="0" rIns="0" bIns="0"/>
          <a:lstStyle>
            <a:lvl1pPr>
              <a:defRPr sz="1800" b="0" i="0">
                <a:solidFill>
                  <a:schemeClr val="bg1"/>
                </a:solidFill>
                <a:latin typeface="Baskerville Old Face"/>
                <a:cs typeface="Baskerville Old Face"/>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en-US"/>
              <a:t>Industrial Sector</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777F8651-DD26-7A48-BE5C-A61971241736}" type="datetime1">
              <a:rPr lang="en-US" smtClean="0"/>
              <a:t>6/1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66313" y="-251323"/>
            <a:ext cx="7886700" cy="1325563"/>
          </a:xfrm>
          <a:prstGeom prst="rect">
            <a:avLst/>
          </a:prstGeom>
        </p:spPr>
        <p:txBody>
          <a:bodyPr>
            <a:normAutofit/>
          </a:bodyPr>
          <a:lstStyle>
            <a:lvl1pPr>
              <a:defRPr sz="2400">
                <a:solidFill>
                  <a:srgbClr val="2A83B4"/>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5" name="Footer Placeholder 2"/>
          <p:cNvSpPr>
            <a:spLocks noGrp="1"/>
          </p:cNvSpPr>
          <p:nvPr>
            <p:ph type="ftr" sz="quarter" idx="11"/>
          </p:nvPr>
        </p:nvSpPr>
        <p:spPr>
          <a:xfrm>
            <a:off x="3028950" y="6356357"/>
            <a:ext cx="3086100" cy="365125"/>
          </a:xfrm>
        </p:spPr>
        <p:txBody>
          <a:bodyPr/>
          <a:lstStyle/>
          <a:p>
            <a:endParaRPr lang="en-CA"/>
          </a:p>
        </p:txBody>
      </p:sp>
      <p:pic>
        <p:nvPicPr>
          <p:cNvPr id="6" name="Picture 5">
            <a:extLst>
              <a:ext uri="{FF2B5EF4-FFF2-40B4-BE49-F238E27FC236}">
                <a16:creationId xmlns:a16="http://schemas.microsoft.com/office/drawing/2014/main" id="{81A78554-1A91-4E58-97F3-909005EC7C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353" y="6543012"/>
            <a:ext cx="2483698" cy="219553"/>
          </a:xfrm>
          <a:prstGeom prst="rect">
            <a:avLst/>
          </a:prstGeom>
        </p:spPr>
      </p:pic>
      <p:sp>
        <p:nvSpPr>
          <p:cNvPr id="7" name="Slide Number Placeholder 3">
            <a:extLst>
              <a:ext uri="{FF2B5EF4-FFF2-40B4-BE49-F238E27FC236}">
                <a16:creationId xmlns:a16="http://schemas.microsoft.com/office/drawing/2014/main" id="{9D354794-BB99-42D9-950E-A1EAB86BE77A}"/>
              </a:ext>
            </a:extLst>
          </p:cNvPr>
          <p:cNvSpPr>
            <a:spLocks noGrp="1"/>
          </p:cNvSpPr>
          <p:nvPr>
            <p:ph type="sldNum" sz="quarter" idx="12"/>
          </p:nvPr>
        </p:nvSpPr>
        <p:spPr>
          <a:xfrm>
            <a:off x="6457950" y="6356357"/>
            <a:ext cx="2057400" cy="365125"/>
          </a:xfrm>
          <a:prstGeom prst="rect">
            <a:avLst/>
          </a:prstGeom>
        </p:spPr>
        <p:txBody>
          <a:bodyPr/>
          <a:lstStyle/>
          <a:p>
            <a:fld id="{4AD190BC-E08B-4EE5-A8F1-D579F087DC40}" type="slidenum">
              <a:rPr lang="en-CA" smtClean="0"/>
              <a:t>‹#›</a:t>
            </a:fld>
            <a:endParaRPr lang="en-CA" dirty="0"/>
          </a:p>
        </p:txBody>
      </p:sp>
    </p:spTree>
    <p:extLst>
      <p:ext uri="{BB962C8B-B14F-4D97-AF65-F5344CB8AC3E}">
        <p14:creationId xmlns:p14="http://schemas.microsoft.com/office/powerpoint/2010/main" val="2587822317"/>
      </p:ext>
    </p:extLst>
  </p:cSld>
  <p:clrMapOvr>
    <a:masterClrMapping/>
  </p:clrMapOvr>
  <p:extLst>
    <p:ext uri="{DCECCB84-F9BA-43D5-87BE-67443E8EF086}">
      <p15:sldGuideLst xmlns:p15="http://schemas.microsoft.com/office/powerpoint/2012/main">
        <p15:guide id="1" orient="horz" pos="346" userDrawn="1">
          <p15:clr>
            <a:srgbClr val="FBAE40"/>
          </p15:clr>
        </p15:guide>
        <p15:guide id="2" pos="15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917B7-9424-46A5-B3D2-25FC48602F4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D938CE0-577E-4373-B711-6FADD89EC3DB}"/>
              </a:ext>
            </a:extLst>
          </p:cNvPr>
          <p:cNvSpPr>
            <a:spLocks noGrp="1"/>
          </p:cNvSpPr>
          <p:nvPr>
            <p:ph idx="1"/>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pic>
        <p:nvPicPr>
          <p:cNvPr id="7" name="Picture 6">
            <a:extLst>
              <a:ext uri="{FF2B5EF4-FFF2-40B4-BE49-F238E27FC236}">
                <a16:creationId xmlns:a16="http://schemas.microsoft.com/office/drawing/2014/main" id="{BE20928F-7B24-435B-99C8-0284AB767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353" y="6543006"/>
            <a:ext cx="2483698" cy="219553"/>
          </a:xfrm>
          <a:prstGeom prst="rect">
            <a:avLst/>
          </a:prstGeom>
        </p:spPr>
      </p:pic>
      <p:sp>
        <p:nvSpPr>
          <p:cNvPr id="6" name="Date Placeholder 5">
            <a:extLst>
              <a:ext uri="{FF2B5EF4-FFF2-40B4-BE49-F238E27FC236}">
                <a16:creationId xmlns:a16="http://schemas.microsoft.com/office/drawing/2014/main" id="{3B9B2F65-1158-4BC0-9CEA-80ECA244B5FE}"/>
              </a:ext>
            </a:extLst>
          </p:cNvPr>
          <p:cNvSpPr>
            <a:spLocks noGrp="1"/>
          </p:cNvSpPr>
          <p:nvPr>
            <p:ph type="dt" sz="half" idx="10"/>
          </p:nvPr>
        </p:nvSpPr>
        <p:spPr/>
        <p:txBody>
          <a:bodyPr/>
          <a:lstStyle/>
          <a:p>
            <a:fld id="{13F54AF6-5BA3-4B9B-9E5C-5AD3EAFD3D83}" type="datetime1">
              <a:rPr lang="en-CA" smtClean="0"/>
              <a:t>2023-06-11</a:t>
            </a:fld>
            <a:endParaRPr lang="en-CA"/>
          </a:p>
        </p:txBody>
      </p:sp>
      <p:sp>
        <p:nvSpPr>
          <p:cNvPr id="23" name="Footer Placeholder 22">
            <a:extLst>
              <a:ext uri="{FF2B5EF4-FFF2-40B4-BE49-F238E27FC236}">
                <a16:creationId xmlns:a16="http://schemas.microsoft.com/office/drawing/2014/main" id="{AB228025-7DDC-4C10-9A1C-94CA8147A715}"/>
              </a:ext>
            </a:extLst>
          </p:cNvPr>
          <p:cNvSpPr>
            <a:spLocks noGrp="1"/>
          </p:cNvSpPr>
          <p:nvPr>
            <p:ph type="ftr" sz="quarter" idx="11"/>
          </p:nvPr>
        </p:nvSpPr>
        <p:spPr/>
        <p:txBody>
          <a:bodyPr/>
          <a:lstStyle/>
          <a:p>
            <a:endParaRPr lang="en-CA"/>
          </a:p>
        </p:txBody>
      </p:sp>
      <p:sp>
        <p:nvSpPr>
          <p:cNvPr id="8" name="Slide Number Placeholder 2">
            <a:extLst>
              <a:ext uri="{FF2B5EF4-FFF2-40B4-BE49-F238E27FC236}">
                <a16:creationId xmlns:a16="http://schemas.microsoft.com/office/drawing/2014/main" id="{46B7E961-42D4-46BE-88FC-B12D5DE472D0}"/>
              </a:ext>
            </a:extLst>
          </p:cNvPr>
          <p:cNvSpPr>
            <a:spLocks noGrp="1"/>
          </p:cNvSpPr>
          <p:nvPr>
            <p:ph type="sldNum" sz="quarter" idx="12"/>
          </p:nvPr>
        </p:nvSpPr>
        <p:spPr>
          <a:xfrm>
            <a:off x="6457950" y="6356351"/>
            <a:ext cx="2057400" cy="365125"/>
          </a:xfrm>
          <a:prstGeom prst="rect">
            <a:avLst/>
          </a:prstGeom>
        </p:spPr>
        <p:txBody>
          <a:bodyPr/>
          <a:lstStyle/>
          <a:p>
            <a:fld id="{602F7A02-EF0D-4D82-9BFD-3DDF074AABBD}" type="slidenum">
              <a:rPr lang="en-CA" smtClean="0"/>
              <a:t>‹#›</a:t>
            </a:fld>
            <a:endParaRPr lang="en-CA" dirty="0"/>
          </a:p>
        </p:txBody>
      </p:sp>
    </p:spTree>
    <p:extLst>
      <p:ext uri="{BB962C8B-B14F-4D97-AF65-F5344CB8AC3E}">
        <p14:creationId xmlns:p14="http://schemas.microsoft.com/office/powerpoint/2010/main" val="41047285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66A966-C02F-43B1-8759-CE3C0A6E7B4A}"/>
              </a:ext>
            </a:extLst>
          </p:cNvPr>
          <p:cNvSpPr>
            <a:spLocks noGrp="1"/>
          </p:cNvSpPr>
          <p:nvPr>
            <p:ph idx="1"/>
          </p:nvPr>
        </p:nvSpPr>
        <p:spPr/>
        <p:txBody>
          <a:bodyPr>
            <a:normAutofit/>
          </a:bodyPr>
          <a:lstStyle>
            <a:lvl1pPr>
              <a:defRPr sz="1200"/>
            </a:lvl1pPr>
            <a:lvl2pPr>
              <a:defRPr sz="12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Footer Placeholder 4">
            <a:extLst>
              <a:ext uri="{FF2B5EF4-FFF2-40B4-BE49-F238E27FC236}">
                <a16:creationId xmlns:a16="http://schemas.microsoft.com/office/drawing/2014/main" id="{AC667B77-C810-4732-8802-D08ED6B9E539}"/>
              </a:ext>
            </a:extLst>
          </p:cNvPr>
          <p:cNvSpPr>
            <a:spLocks noGrp="1"/>
          </p:cNvSpPr>
          <p:nvPr>
            <p:ph type="ftr" sz="quarter" idx="11"/>
          </p:nvPr>
        </p:nvSpPr>
        <p:spPr/>
        <p:txBody>
          <a:bodyPr/>
          <a:lstStyle/>
          <a:p>
            <a:endParaRPr lang="en-CA"/>
          </a:p>
        </p:txBody>
      </p:sp>
      <p:pic>
        <p:nvPicPr>
          <p:cNvPr id="7" name="Picture 6">
            <a:extLst>
              <a:ext uri="{FF2B5EF4-FFF2-40B4-BE49-F238E27FC236}">
                <a16:creationId xmlns:a16="http://schemas.microsoft.com/office/drawing/2014/main" id="{CE44A11C-50FB-4286-AE97-35EB502038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365" y="6543050"/>
            <a:ext cx="2483698" cy="219553"/>
          </a:xfrm>
          <a:prstGeom prst="rect">
            <a:avLst/>
          </a:prstGeom>
        </p:spPr>
      </p:pic>
      <p:sp>
        <p:nvSpPr>
          <p:cNvPr id="8" name="Slide Number Placeholder 5">
            <a:extLst>
              <a:ext uri="{FF2B5EF4-FFF2-40B4-BE49-F238E27FC236}">
                <a16:creationId xmlns:a16="http://schemas.microsoft.com/office/drawing/2014/main" id="{B363FA66-A55B-49B5-BE6C-3C819979F803}"/>
              </a:ext>
            </a:extLst>
          </p:cNvPr>
          <p:cNvSpPr>
            <a:spLocks noGrp="1"/>
          </p:cNvSpPr>
          <p:nvPr>
            <p:ph type="sldNum" sz="quarter" idx="12"/>
          </p:nvPr>
        </p:nvSpPr>
        <p:spPr>
          <a:xfrm>
            <a:off x="6457951" y="6356395"/>
            <a:ext cx="2057400" cy="365125"/>
          </a:xfrm>
        </p:spPr>
        <p:txBody>
          <a:bodyPr/>
          <a:lstStyle/>
          <a:p>
            <a:fld id="{252FAAFE-A775-4D76-8C93-3D8F1DD12E14}" type="slidenum">
              <a:rPr lang="en-CA" smtClean="0"/>
              <a:t>‹#›</a:t>
            </a:fld>
            <a:endParaRPr lang="en-CA"/>
          </a:p>
        </p:txBody>
      </p:sp>
      <p:sp>
        <p:nvSpPr>
          <p:cNvPr id="10" name="Title 1">
            <a:extLst>
              <a:ext uri="{FF2B5EF4-FFF2-40B4-BE49-F238E27FC236}">
                <a16:creationId xmlns:a16="http://schemas.microsoft.com/office/drawing/2014/main" id="{828724A5-317B-48A4-B490-AE9B747DFB1E}"/>
              </a:ext>
            </a:extLst>
          </p:cNvPr>
          <p:cNvSpPr>
            <a:spLocks noGrp="1"/>
          </p:cNvSpPr>
          <p:nvPr>
            <p:ph type="title"/>
          </p:nvPr>
        </p:nvSpPr>
        <p:spPr>
          <a:xfrm>
            <a:off x="180696" y="155794"/>
            <a:ext cx="7886700" cy="1325563"/>
          </a:xfrm>
          <a:prstGeom prst="rect">
            <a:avLst/>
          </a:prstGeom>
        </p:spPr>
        <p:txBody>
          <a:bodyPr/>
          <a:lstStyle>
            <a:lvl1pPr>
              <a:defRPr sz="2400">
                <a:solidFill>
                  <a:srgbClr val="2A83B4"/>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endParaRPr lang="en-CA"/>
          </a:p>
        </p:txBody>
      </p:sp>
    </p:spTree>
    <p:extLst>
      <p:ext uri="{BB962C8B-B14F-4D97-AF65-F5344CB8AC3E}">
        <p14:creationId xmlns:p14="http://schemas.microsoft.com/office/powerpoint/2010/main" val="6131406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63991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8799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DE8D5-3B02-461B-BCA0-C2D1DA7D0B9B}"/>
              </a:ext>
            </a:extLst>
          </p:cNvPr>
          <p:cNvSpPr>
            <a:spLocks noGrp="1"/>
          </p:cNvSpPr>
          <p:nvPr>
            <p:ph type="title"/>
          </p:nvPr>
        </p:nvSpPr>
        <p:spPr>
          <a:xfrm>
            <a:off x="179744" y="-203432"/>
            <a:ext cx="78867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79B4B996-CE2A-49BD-81A7-277C20864525}"/>
              </a:ext>
            </a:extLst>
          </p:cNvPr>
          <p:cNvSpPr>
            <a:spLocks noGrp="1"/>
          </p:cNvSpPr>
          <p:nvPr>
            <p:ph type="body" idx="1"/>
          </p:nvPr>
        </p:nvSpPr>
        <p:spPr>
          <a:xfrm>
            <a:off x="629842" y="1681163"/>
            <a:ext cx="3868340" cy="823912"/>
          </a:xfrm>
        </p:spPr>
        <p:txBody>
          <a:bodyPr anchor="b">
            <a:normAutofit/>
          </a:bodyPr>
          <a:lstStyle>
            <a:lvl1pPr marL="0" indent="0">
              <a:buNone/>
              <a:defRPr sz="1350" b="1">
                <a:latin typeface="Open Sans" panose="020B0606030504020204" pitchFamily="34" charset="0"/>
                <a:ea typeface="Open Sans" panose="020B0606030504020204" pitchFamily="34" charset="0"/>
                <a:cs typeface="Open Sans" panose="020B0606030504020204" pitchFamily="34" charset="0"/>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dirty="0"/>
              <a:t>Edit Master text styles</a:t>
            </a:r>
          </a:p>
        </p:txBody>
      </p:sp>
      <p:sp>
        <p:nvSpPr>
          <p:cNvPr id="4" name="Content Placeholder 3">
            <a:extLst>
              <a:ext uri="{FF2B5EF4-FFF2-40B4-BE49-F238E27FC236}">
                <a16:creationId xmlns:a16="http://schemas.microsoft.com/office/drawing/2014/main" id="{45940E5F-4BEE-4B0B-8D84-710DF5916FDF}"/>
              </a:ext>
            </a:extLst>
          </p:cNvPr>
          <p:cNvSpPr>
            <a:spLocks noGrp="1"/>
          </p:cNvSpPr>
          <p:nvPr>
            <p:ph sz="half" idx="2"/>
          </p:nvPr>
        </p:nvSpPr>
        <p:spPr>
          <a:xfrm>
            <a:off x="629842" y="2505075"/>
            <a:ext cx="3868340" cy="3684588"/>
          </a:xfr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D930CDA5-F502-44CE-A8E4-BC47A133A94E}"/>
              </a:ext>
            </a:extLst>
          </p:cNvPr>
          <p:cNvSpPr>
            <a:spLocks noGrp="1"/>
          </p:cNvSpPr>
          <p:nvPr>
            <p:ph type="body" sz="quarter" idx="3"/>
          </p:nvPr>
        </p:nvSpPr>
        <p:spPr>
          <a:xfrm>
            <a:off x="4629152" y="1681163"/>
            <a:ext cx="3887391" cy="823912"/>
          </a:xfrm>
        </p:spPr>
        <p:txBody>
          <a:bodyPr anchor="b">
            <a:normAutofit/>
          </a:bodyPr>
          <a:lstStyle>
            <a:lvl1pPr marL="0" indent="0">
              <a:buNone/>
              <a:defRPr sz="1350" b="1">
                <a:latin typeface="Open Sans" panose="020B0606030504020204" pitchFamily="34" charset="0"/>
                <a:ea typeface="Open Sans" panose="020B0606030504020204" pitchFamily="34" charset="0"/>
                <a:cs typeface="Open Sans" panose="020B0606030504020204" pitchFamily="34" charset="0"/>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FB45F41-FF13-440E-BA5A-CC2AB6C74225}"/>
              </a:ext>
            </a:extLst>
          </p:cNvPr>
          <p:cNvSpPr>
            <a:spLocks noGrp="1"/>
          </p:cNvSpPr>
          <p:nvPr>
            <p:ph sz="quarter" idx="4"/>
          </p:nvPr>
        </p:nvSpPr>
        <p:spPr>
          <a:xfrm>
            <a:off x="4629152" y="2505075"/>
            <a:ext cx="3887391" cy="3684588"/>
          </a:xfr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E3A5FF66-A473-4781-ACA0-8C0CB511D6BA}"/>
              </a:ext>
            </a:extLst>
          </p:cNvPr>
          <p:cNvSpPr>
            <a:spLocks noGrp="1"/>
          </p:cNvSpPr>
          <p:nvPr>
            <p:ph type="dt" sz="half" idx="10"/>
          </p:nvPr>
        </p:nvSpPr>
        <p:spPr/>
        <p:txBody>
          <a:bodyPr/>
          <a:lstStyle/>
          <a:p>
            <a:fld id="{34680329-36DC-4304-BF94-A8D62B09FB29}" type="datetime1">
              <a:rPr lang="en-CA" smtClean="0"/>
              <a:t>2023-06-11</a:t>
            </a:fld>
            <a:endParaRPr lang="en-CA"/>
          </a:p>
        </p:txBody>
      </p:sp>
      <p:sp>
        <p:nvSpPr>
          <p:cNvPr id="8" name="Footer Placeholder 7">
            <a:extLst>
              <a:ext uri="{FF2B5EF4-FFF2-40B4-BE49-F238E27FC236}">
                <a16:creationId xmlns:a16="http://schemas.microsoft.com/office/drawing/2014/main" id="{972D3629-0E74-4959-A86E-B84F1A048D76}"/>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E6F20DB6-BB03-40E9-996F-AD7B2CAA1FD3}"/>
              </a:ext>
            </a:extLst>
          </p:cNvPr>
          <p:cNvSpPr>
            <a:spLocks noGrp="1"/>
          </p:cNvSpPr>
          <p:nvPr>
            <p:ph type="sldNum" sz="quarter" idx="12"/>
          </p:nvPr>
        </p:nvSpPr>
        <p:spPr>
          <a:xfrm>
            <a:off x="6457950" y="6356357"/>
            <a:ext cx="2057400" cy="365125"/>
          </a:xfrm>
          <a:prstGeom prst="rect">
            <a:avLst/>
          </a:prstGeom>
        </p:spPr>
        <p:txBody>
          <a:bodyPr/>
          <a:lstStyle/>
          <a:p>
            <a:fld id="{B1F560D5-53A7-4969-B8DF-E1F637D39903}" type="slidenum">
              <a:rPr lang="en-CA" smtClean="0"/>
              <a:t>‹#›</a:t>
            </a:fld>
            <a:endParaRPr lang="en-CA"/>
          </a:p>
        </p:txBody>
      </p:sp>
      <p:pic>
        <p:nvPicPr>
          <p:cNvPr id="10" name="Picture 9">
            <a:extLst>
              <a:ext uri="{FF2B5EF4-FFF2-40B4-BE49-F238E27FC236}">
                <a16:creationId xmlns:a16="http://schemas.microsoft.com/office/drawing/2014/main" id="{7FF0A0B3-06F8-4FA1-9B4C-A42F3E144C3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2353" y="6543012"/>
            <a:ext cx="2483698" cy="219553"/>
          </a:xfrm>
          <a:prstGeom prst="rect">
            <a:avLst/>
          </a:prstGeom>
        </p:spPr>
      </p:pic>
    </p:spTree>
    <p:extLst>
      <p:ext uri="{BB962C8B-B14F-4D97-AF65-F5344CB8AC3E}">
        <p14:creationId xmlns:p14="http://schemas.microsoft.com/office/powerpoint/2010/main" val="17652304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369332"/>
          </a:xfrm>
        </p:spPr>
        <p:txBody>
          <a:bodyPr lIns="0" tIns="0" rIns="0" bIns="0"/>
          <a:lstStyle>
            <a:lvl1pPr algn="ctr">
              <a:defRPr>
                <a:solidFill>
                  <a:schemeClr val="tx1">
                    <a:tint val="75000"/>
                  </a:schemeClr>
                </a:solidFill>
              </a:defRPr>
            </a:lvl1pPr>
          </a:lstStyle>
          <a:p>
            <a:pPr defTabSz="685800">
              <a:defRPr/>
            </a:pPr>
            <a:r>
              <a:rPr lang="en-US" sz="1800">
                <a:solidFill>
                  <a:prstClr val="black">
                    <a:tint val="75000"/>
                  </a:prstClr>
                </a:solidFill>
              </a:rPr>
              <a:t>Industrial Sector</a:t>
            </a:r>
          </a:p>
        </p:txBody>
      </p:sp>
      <p:sp>
        <p:nvSpPr>
          <p:cNvPr id="3" name="Holder 3"/>
          <p:cNvSpPr>
            <a:spLocks noGrp="1"/>
          </p:cNvSpPr>
          <p:nvPr>
            <p:ph type="dt" sz="half" idx="6"/>
          </p:nvPr>
        </p:nvSpPr>
        <p:spPr>
          <a:xfrm>
            <a:off x="609600" y="6377940"/>
            <a:ext cx="2804160" cy="369332"/>
          </a:xfrm>
        </p:spPr>
        <p:txBody>
          <a:bodyPr lIns="0" tIns="0" rIns="0" bIns="0"/>
          <a:lstStyle>
            <a:lvl1pPr algn="l">
              <a:defRPr>
                <a:solidFill>
                  <a:schemeClr val="tx1">
                    <a:tint val="75000"/>
                  </a:schemeClr>
                </a:solidFill>
              </a:defRPr>
            </a:lvl1pPr>
          </a:lstStyle>
          <a:p>
            <a:pPr defTabSz="685800">
              <a:defRPr/>
            </a:pPr>
            <a:fld id="{AD2EDA2D-7472-6E4D-8406-00271FC809EA}" type="datetime1">
              <a:rPr lang="en-US" sz="1800" smtClean="0">
                <a:solidFill>
                  <a:prstClr val="black">
                    <a:tint val="75000"/>
                  </a:prstClr>
                </a:solidFill>
              </a:rPr>
              <a:pPr defTabSz="685800">
                <a:defRPr/>
              </a:pPr>
              <a:t>6/11/2023</a:t>
            </a:fld>
            <a:endParaRPr lang="en-US" sz="1800">
              <a:solidFill>
                <a:prstClr val="black">
                  <a:tint val="75000"/>
                </a:prstClr>
              </a:solidFill>
            </a:endParaRPr>
          </a:p>
        </p:txBody>
      </p:sp>
      <p:sp>
        <p:nvSpPr>
          <p:cNvPr id="4" name="Holder 4"/>
          <p:cNvSpPr>
            <a:spLocks noGrp="1"/>
          </p:cNvSpPr>
          <p:nvPr>
            <p:ph type="sldNum" sz="quarter" idx="7"/>
          </p:nvPr>
        </p:nvSpPr>
        <p:spPr>
          <a:xfrm>
            <a:off x="8778240" y="6377940"/>
            <a:ext cx="2804160" cy="369332"/>
          </a:xfrm>
        </p:spPr>
        <p:txBody>
          <a:bodyPr lIns="0" tIns="0" rIns="0" bIns="0"/>
          <a:lstStyle>
            <a:lvl1pPr algn="r">
              <a:defRPr>
                <a:solidFill>
                  <a:schemeClr val="tx1">
                    <a:tint val="75000"/>
                  </a:schemeClr>
                </a:solidFill>
              </a:defRPr>
            </a:lvl1pPr>
          </a:lstStyle>
          <a:p>
            <a:pPr defTabSz="685800">
              <a:defRPr/>
            </a:pPr>
            <a:fld id="{B6F15528-21DE-4FAA-801E-634DDDAF4B2B}" type="slidenum">
              <a:rPr lang="en-US" sz="1800" smtClean="0">
                <a:solidFill>
                  <a:prstClr val="black">
                    <a:tint val="75000"/>
                  </a:prstClr>
                </a:solidFill>
              </a:rPr>
              <a:pPr defTabSz="685800">
                <a:defRPr/>
              </a:pPr>
              <a:t>‹#›</a:t>
            </a:fld>
            <a:endParaRPr lang="en-US" sz="1800">
              <a:solidFill>
                <a:prstClr val="black">
                  <a:tint val="75000"/>
                </a:prstClr>
              </a:solidFill>
            </a:endParaRPr>
          </a:p>
        </p:txBody>
      </p:sp>
    </p:spTree>
    <p:extLst>
      <p:ext uri="{BB962C8B-B14F-4D97-AF65-F5344CB8AC3E}">
        <p14:creationId xmlns:p14="http://schemas.microsoft.com/office/powerpoint/2010/main" val="29770403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917B7-9424-46A5-B3D2-25FC48602F4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D938CE0-577E-4373-B711-6FADD89EC3DB}"/>
              </a:ext>
            </a:extLst>
          </p:cNvPr>
          <p:cNvSpPr>
            <a:spLocks noGrp="1"/>
          </p:cNvSpPr>
          <p:nvPr>
            <p:ph idx="1"/>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Date Placeholder 5">
            <a:extLst>
              <a:ext uri="{FF2B5EF4-FFF2-40B4-BE49-F238E27FC236}">
                <a16:creationId xmlns:a16="http://schemas.microsoft.com/office/drawing/2014/main" id="{3B9B2F65-1158-4BC0-9CEA-80ECA244B5FE}"/>
              </a:ext>
            </a:extLst>
          </p:cNvPr>
          <p:cNvSpPr>
            <a:spLocks noGrp="1"/>
          </p:cNvSpPr>
          <p:nvPr>
            <p:ph type="dt" sz="half" idx="10"/>
          </p:nvPr>
        </p:nvSpPr>
        <p:spPr/>
        <p:txBody>
          <a:bodyPr/>
          <a:lstStyle/>
          <a:p>
            <a:fld id="{13F54AF6-5BA3-4B9B-9E5C-5AD3EAFD3D83}" type="datetime1">
              <a:rPr lang="en-CA" smtClean="0"/>
              <a:t>2023-06-11</a:t>
            </a:fld>
            <a:endParaRPr lang="en-CA"/>
          </a:p>
        </p:txBody>
      </p:sp>
      <p:sp>
        <p:nvSpPr>
          <p:cNvPr id="23" name="Footer Placeholder 22">
            <a:extLst>
              <a:ext uri="{FF2B5EF4-FFF2-40B4-BE49-F238E27FC236}">
                <a16:creationId xmlns:a16="http://schemas.microsoft.com/office/drawing/2014/main" id="{AB228025-7DDC-4C10-9A1C-94CA8147A715}"/>
              </a:ext>
            </a:extLst>
          </p:cNvPr>
          <p:cNvSpPr>
            <a:spLocks noGrp="1"/>
          </p:cNvSpPr>
          <p:nvPr>
            <p:ph type="ftr" sz="quarter" idx="11"/>
          </p:nvPr>
        </p:nvSpPr>
        <p:spPr/>
        <p:txBody>
          <a:bodyPr/>
          <a:lstStyle/>
          <a:p>
            <a:endParaRPr lang="en-CA"/>
          </a:p>
        </p:txBody>
      </p:sp>
      <p:sp>
        <p:nvSpPr>
          <p:cNvPr id="8" name="Slide Number Placeholder 2">
            <a:extLst>
              <a:ext uri="{FF2B5EF4-FFF2-40B4-BE49-F238E27FC236}">
                <a16:creationId xmlns:a16="http://schemas.microsoft.com/office/drawing/2014/main" id="{46B7E961-42D4-46BE-88FC-B12D5DE472D0}"/>
              </a:ext>
            </a:extLst>
          </p:cNvPr>
          <p:cNvSpPr>
            <a:spLocks noGrp="1"/>
          </p:cNvSpPr>
          <p:nvPr>
            <p:ph type="sldNum" sz="quarter" idx="12"/>
          </p:nvPr>
        </p:nvSpPr>
        <p:spPr>
          <a:xfrm>
            <a:off x="6457950" y="6356357"/>
            <a:ext cx="2057400" cy="365125"/>
          </a:xfrm>
          <a:prstGeom prst="rect">
            <a:avLst/>
          </a:prstGeom>
        </p:spPr>
        <p:txBody>
          <a:bodyPr/>
          <a:lstStyle/>
          <a:p>
            <a:fld id="{602F7A02-EF0D-4D82-9BFD-3DDF074AABBD}" type="slidenum">
              <a:rPr lang="en-CA" smtClean="0"/>
              <a:t>‹#›</a:t>
            </a:fld>
            <a:endParaRPr lang="en-CA" dirty="0"/>
          </a:p>
        </p:txBody>
      </p:sp>
    </p:spTree>
    <p:extLst>
      <p:ext uri="{BB962C8B-B14F-4D97-AF65-F5344CB8AC3E}">
        <p14:creationId xmlns:p14="http://schemas.microsoft.com/office/powerpoint/2010/main" val="14894616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DE8D5-3B02-461B-BCA0-C2D1DA7D0B9B}"/>
              </a:ext>
            </a:extLst>
          </p:cNvPr>
          <p:cNvSpPr>
            <a:spLocks noGrp="1"/>
          </p:cNvSpPr>
          <p:nvPr>
            <p:ph type="title"/>
          </p:nvPr>
        </p:nvSpPr>
        <p:spPr>
          <a:xfrm>
            <a:off x="179744" y="-203432"/>
            <a:ext cx="78867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79B4B996-CE2A-49BD-81A7-277C20864525}"/>
              </a:ext>
            </a:extLst>
          </p:cNvPr>
          <p:cNvSpPr>
            <a:spLocks noGrp="1"/>
          </p:cNvSpPr>
          <p:nvPr>
            <p:ph type="body" idx="1"/>
          </p:nvPr>
        </p:nvSpPr>
        <p:spPr>
          <a:xfrm>
            <a:off x="629842" y="1681163"/>
            <a:ext cx="3868340" cy="823912"/>
          </a:xfrm>
        </p:spPr>
        <p:txBody>
          <a:bodyPr anchor="b">
            <a:normAutofit/>
          </a:bodyPr>
          <a:lstStyle>
            <a:lvl1pPr marL="0" indent="0">
              <a:buNone/>
              <a:defRPr sz="1350" b="1">
                <a:latin typeface="Open Sans" panose="020B0606030504020204" pitchFamily="34" charset="0"/>
                <a:ea typeface="Open Sans" panose="020B0606030504020204" pitchFamily="34" charset="0"/>
                <a:cs typeface="Open Sans" panose="020B0606030504020204" pitchFamily="34" charset="0"/>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dirty="0"/>
              <a:t>Edit Master text styles</a:t>
            </a:r>
          </a:p>
        </p:txBody>
      </p:sp>
      <p:sp>
        <p:nvSpPr>
          <p:cNvPr id="4" name="Content Placeholder 3">
            <a:extLst>
              <a:ext uri="{FF2B5EF4-FFF2-40B4-BE49-F238E27FC236}">
                <a16:creationId xmlns:a16="http://schemas.microsoft.com/office/drawing/2014/main" id="{45940E5F-4BEE-4B0B-8D84-710DF5916FDF}"/>
              </a:ext>
            </a:extLst>
          </p:cNvPr>
          <p:cNvSpPr>
            <a:spLocks noGrp="1"/>
          </p:cNvSpPr>
          <p:nvPr>
            <p:ph sz="half" idx="2"/>
          </p:nvPr>
        </p:nvSpPr>
        <p:spPr>
          <a:xfrm>
            <a:off x="629842" y="2505075"/>
            <a:ext cx="3868340" cy="3684588"/>
          </a:xfr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D930CDA5-F502-44CE-A8E4-BC47A133A94E}"/>
              </a:ext>
            </a:extLst>
          </p:cNvPr>
          <p:cNvSpPr>
            <a:spLocks noGrp="1"/>
          </p:cNvSpPr>
          <p:nvPr>
            <p:ph type="body" sz="quarter" idx="3"/>
          </p:nvPr>
        </p:nvSpPr>
        <p:spPr>
          <a:xfrm>
            <a:off x="4629152" y="1681163"/>
            <a:ext cx="3887391" cy="823912"/>
          </a:xfrm>
        </p:spPr>
        <p:txBody>
          <a:bodyPr anchor="b">
            <a:normAutofit/>
          </a:bodyPr>
          <a:lstStyle>
            <a:lvl1pPr marL="0" indent="0">
              <a:buNone/>
              <a:defRPr sz="1350" b="1">
                <a:latin typeface="Open Sans" panose="020B0606030504020204" pitchFamily="34" charset="0"/>
                <a:ea typeface="Open Sans" panose="020B0606030504020204" pitchFamily="34" charset="0"/>
                <a:cs typeface="Open Sans" panose="020B0606030504020204" pitchFamily="34" charset="0"/>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FB45F41-FF13-440E-BA5A-CC2AB6C74225}"/>
              </a:ext>
            </a:extLst>
          </p:cNvPr>
          <p:cNvSpPr>
            <a:spLocks noGrp="1"/>
          </p:cNvSpPr>
          <p:nvPr>
            <p:ph sz="quarter" idx="4"/>
          </p:nvPr>
        </p:nvSpPr>
        <p:spPr>
          <a:xfrm>
            <a:off x="4629152" y="2505075"/>
            <a:ext cx="3887391" cy="3684588"/>
          </a:xfr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E3A5FF66-A473-4781-ACA0-8C0CB511D6BA}"/>
              </a:ext>
            </a:extLst>
          </p:cNvPr>
          <p:cNvSpPr>
            <a:spLocks noGrp="1"/>
          </p:cNvSpPr>
          <p:nvPr>
            <p:ph type="dt" sz="half" idx="10"/>
          </p:nvPr>
        </p:nvSpPr>
        <p:spPr/>
        <p:txBody>
          <a:bodyPr/>
          <a:lstStyle/>
          <a:p>
            <a:fld id="{34680329-36DC-4304-BF94-A8D62B09FB29}" type="datetime1">
              <a:rPr lang="en-CA" smtClean="0"/>
              <a:t>2023-06-11</a:t>
            </a:fld>
            <a:endParaRPr lang="en-CA"/>
          </a:p>
        </p:txBody>
      </p:sp>
      <p:sp>
        <p:nvSpPr>
          <p:cNvPr id="8" name="Footer Placeholder 7">
            <a:extLst>
              <a:ext uri="{FF2B5EF4-FFF2-40B4-BE49-F238E27FC236}">
                <a16:creationId xmlns:a16="http://schemas.microsoft.com/office/drawing/2014/main" id="{972D3629-0E74-4959-A86E-B84F1A048D76}"/>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E6F20DB6-BB03-40E9-996F-AD7B2CAA1FD3}"/>
              </a:ext>
            </a:extLst>
          </p:cNvPr>
          <p:cNvSpPr>
            <a:spLocks noGrp="1"/>
          </p:cNvSpPr>
          <p:nvPr>
            <p:ph type="sldNum" sz="quarter" idx="12"/>
          </p:nvPr>
        </p:nvSpPr>
        <p:spPr>
          <a:xfrm>
            <a:off x="6457950" y="6356357"/>
            <a:ext cx="2057400" cy="365125"/>
          </a:xfrm>
          <a:prstGeom prst="rect">
            <a:avLst/>
          </a:prstGeom>
        </p:spPr>
        <p:txBody>
          <a:bodyPr/>
          <a:lstStyle/>
          <a:p>
            <a:fld id="{B1F560D5-53A7-4969-B8DF-E1F637D39903}" type="slidenum">
              <a:rPr lang="en-CA" smtClean="0"/>
              <a:t>‹#›</a:t>
            </a:fld>
            <a:endParaRPr lang="en-CA"/>
          </a:p>
        </p:txBody>
      </p:sp>
      <p:pic>
        <p:nvPicPr>
          <p:cNvPr id="10" name="Picture 9">
            <a:extLst>
              <a:ext uri="{FF2B5EF4-FFF2-40B4-BE49-F238E27FC236}">
                <a16:creationId xmlns:a16="http://schemas.microsoft.com/office/drawing/2014/main" id="{7FF0A0B3-06F8-4FA1-9B4C-A42F3E144C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353" y="6543012"/>
            <a:ext cx="2483698" cy="219553"/>
          </a:xfrm>
          <a:prstGeom prst="rect">
            <a:avLst/>
          </a:prstGeom>
        </p:spPr>
      </p:pic>
    </p:spTree>
    <p:extLst>
      <p:ext uri="{BB962C8B-B14F-4D97-AF65-F5344CB8AC3E}">
        <p14:creationId xmlns:p14="http://schemas.microsoft.com/office/powerpoint/2010/main" val="6253590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F13D747-EEDB-4752-8A0E-D667F0E00B57}" type="datetime1">
              <a:rPr lang="en-US" smtClean="0"/>
              <a:t>6/11/2023</a:t>
            </a:fld>
            <a:endParaRPr lang="en-US"/>
          </a:p>
        </p:txBody>
      </p:sp>
      <p:sp>
        <p:nvSpPr>
          <p:cNvPr id="6" name="Footer Placeholder 5"/>
          <p:cNvSpPr>
            <a:spLocks noGrp="1"/>
          </p:cNvSpPr>
          <p:nvPr>
            <p:ph type="ftr" sz="quarter" idx="11"/>
          </p:nvPr>
        </p:nvSpPr>
        <p:spPr/>
        <p:txBody>
          <a:bodyPr/>
          <a:lstStyle/>
          <a:p>
            <a:r>
              <a:rPr lang="en-US"/>
              <a:t>S. Cunningham;  Intel Corporation; 2013</a:t>
            </a:r>
          </a:p>
        </p:txBody>
      </p:sp>
      <p:sp>
        <p:nvSpPr>
          <p:cNvPr id="7" name="Slide Number Placeholder 6"/>
          <p:cNvSpPr>
            <a:spLocks noGrp="1"/>
          </p:cNvSpPr>
          <p:nvPr>
            <p:ph type="sldNum" sz="quarter" idx="12"/>
          </p:nvPr>
        </p:nvSpPr>
        <p:spPr/>
        <p:txBody>
          <a:bodyPr/>
          <a:lstStyle/>
          <a:p>
            <a:fld id="{778D0224-7849-4939-A284-59648356A652}" type="slidenum">
              <a:rPr lang="en-US" smtClean="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B47EF2-9A3F-4C1C-A66D-DA41C3B8537F}" type="datetime1">
              <a:rPr lang="en-US" smtClean="0"/>
              <a:t>6/11/2023</a:t>
            </a:fld>
            <a:endParaRPr lang="en-US"/>
          </a:p>
        </p:txBody>
      </p:sp>
      <p:sp>
        <p:nvSpPr>
          <p:cNvPr id="5" name="Footer Placeholder 4"/>
          <p:cNvSpPr>
            <a:spLocks noGrp="1"/>
          </p:cNvSpPr>
          <p:nvPr>
            <p:ph type="ftr" sz="quarter" idx="11"/>
          </p:nvPr>
        </p:nvSpPr>
        <p:spPr/>
        <p:txBody>
          <a:bodyPr/>
          <a:lstStyle/>
          <a:p>
            <a:r>
              <a:rPr lang="en-US"/>
              <a:t>S. Cunningham;  Intel Corporation; 2013</a:t>
            </a:r>
          </a:p>
        </p:txBody>
      </p:sp>
      <p:sp>
        <p:nvSpPr>
          <p:cNvPr id="6" name="Slide Number Placeholder 5"/>
          <p:cNvSpPr>
            <a:spLocks noGrp="1"/>
          </p:cNvSpPr>
          <p:nvPr>
            <p:ph type="sldNum" sz="quarter" idx="12"/>
          </p:nvPr>
        </p:nvSpPr>
        <p:spPr/>
        <p:txBody>
          <a:bodyPr/>
          <a:lstStyle/>
          <a:p>
            <a:fld id="{778D0224-7849-4939-A284-59648356A652}" type="slidenum">
              <a:rPr lang="en-US" smtClean="0"/>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7" name="bg object 17"/>
          <p:cNvSpPr/>
          <p:nvPr/>
        </p:nvSpPr>
        <p:spPr>
          <a:xfrm>
            <a:off x="7590262" y="6307195"/>
            <a:ext cx="1072296" cy="83974"/>
          </a:xfrm>
          <a:prstGeom prst="rect">
            <a:avLst/>
          </a:prstGeom>
          <a:blipFill>
            <a:blip r:embed="rId2" cstate="print"/>
            <a:stretch>
              <a:fillRect/>
            </a:stretch>
          </a:blipFill>
        </p:spPr>
        <p:txBody>
          <a:bodyPr wrap="square" lIns="0" tIns="0" rIns="0" bIns="0" rtlCol="0"/>
          <a:lstStyle/>
          <a:p>
            <a:endParaRPr/>
          </a:p>
        </p:txBody>
      </p:sp>
      <p:sp>
        <p:nvSpPr>
          <p:cNvPr id="18" name="bg object 18"/>
          <p:cNvSpPr/>
          <p:nvPr/>
        </p:nvSpPr>
        <p:spPr>
          <a:xfrm>
            <a:off x="7587995" y="6425004"/>
            <a:ext cx="1083141" cy="314164"/>
          </a:xfrm>
          <a:prstGeom prst="rect">
            <a:avLst/>
          </a:prstGeom>
          <a:blipFill>
            <a:blip r:embed="rId3" cstate="print"/>
            <a:stretch>
              <a:fillRect/>
            </a:stretch>
          </a:blipFill>
        </p:spPr>
        <p:txBody>
          <a:bodyPr wrap="square" lIns="0" tIns="0" rIns="0" bIns="0" rtlCol="0"/>
          <a:lstStyle/>
          <a:p>
            <a:endParaRPr/>
          </a:p>
        </p:txBody>
      </p:sp>
      <p:sp>
        <p:nvSpPr>
          <p:cNvPr id="19" name="bg object 19"/>
          <p:cNvSpPr/>
          <p:nvPr/>
        </p:nvSpPr>
        <p:spPr>
          <a:xfrm>
            <a:off x="8722793" y="6306583"/>
            <a:ext cx="323215" cy="430530"/>
          </a:xfrm>
          <a:custGeom>
            <a:avLst/>
            <a:gdLst/>
            <a:ahLst/>
            <a:cxnLst/>
            <a:rect l="l" t="t" r="r" b="b"/>
            <a:pathLst>
              <a:path w="323215" h="430529">
                <a:moveTo>
                  <a:pt x="323166" y="0"/>
                </a:moveTo>
                <a:lnTo>
                  <a:pt x="0" y="0"/>
                </a:lnTo>
                <a:lnTo>
                  <a:pt x="0" y="430168"/>
                </a:lnTo>
                <a:lnTo>
                  <a:pt x="323166" y="430168"/>
                </a:lnTo>
                <a:lnTo>
                  <a:pt x="323166" y="375793"/>
                </a:lnTo>
                <a:lnTo>
                  <a:pt x="96545" y="375793"/>
                </a:lnTo>
                <a:lnTo>
                  <a:pt x="96545" y="335312"/>
                </a:lnTo>
                <a:lnTo>
                  <a:pt x="97028" y="335312"/>
                </a:lnTo>
                <a:lnTo>
                  <a:pt x="111489" y="331186"/>
                </a:lnTo>
                <a:lnTo>
                  <a:pt x="123452" y="319981"/>
                </a:lnTo>
                <a:lnTo>
                  <a:pt x="131598" y="303452"/>
                </a:lnTo>
                <a:lnTo>
                  <a:pt x="134607" y="283353"/>
                </a:lnTo>
                <a:lnTo>
                  <a:pt x="134607" y="162527"/>
                </a:lnTo>
                <a:lnTo>
                  <a:pt x="40841" y="162527"/>
                </a:lnTo>
                <a:lnTo>
                  <a:pt x="40841" y="53776"/>
                </a:lnTo>
                <a:lnTo>
                  <a:pt x="323166" y="53776"/>
                </a:lnTo>
                <a:lnTo>
                  <a:pt x="323166" y="0"/>
                </a:lnTo>
                <a:close/>
              </a:path>
              <a:path w="323215" h="430529">
                <a:moveTo>
                  <a:pt x="218948" y="126271"/>
                </a:moveTo>
                <a:lnTo>
                  <a:pt x="209229" y="127877"/>
                </a:lnTo>
                <a:lnTo>
                  <a:pt x="200695" y="132315"/>
                </a:lnTo>
                <a:lnTo>
                  <a:pt x="193689" y="139018"/>
                </a:lnTo>
                <a:lnTo>
                  <a:pt x="188558" y="147420"/>
                </a:lnTo>
                <a:lnTo>
                  <a:pt x="188558" y="283353"/>
                </a:lnTo>
                <a:lnTo>
                  <a:pt x="191568" y="303452"/>
                </a:lnTo>
                <a:lnTo>
                  <a:pt x="199720" y="319981"/>
                </a:lnTo>
                <a:lnTo>
                  <a:pt x="211702" y="331186"/>
                </a:lnTo>
                <a:lnTo>
                  <a:pt x="226198" y="335312"/>
                </a:lnTo>
                <a:lnTo>
                  <a:pt x="226621" y="335312"/>
                </a:lnTo>
                <a:lnTo>
                  <a:pt x="226621" y="375793"/>
                </a:lnTo>
                <a:lnTo>
                  <a:pt x="323166" y="375793"/>
                </a:lnTo>
                <a:lnTo>
                  <a:pt x="323166" y="162527"/>
                </a:lnTo>
                <a:lnTo>
                  <a:pt x="251995" y="162527"/>
                </a:lnTo>
                <a:lnTo>
                  <a:pt x="249381" y="148449"/>
                </a:lnTo>
                <a:lnTo>
                  <a:pt x="242268" y="136921"/>
                </a:lnTo>
                <a:lnTo>
                  <a:pt x="231758" y="129132"/>
                </a:lnTo>
                <a:lnTo>
                  <a:pt x="218948" y="126271"/>
                </a:lnTo>
                <a:close/>
              </a:path>
              <a:path w="323215" h="430529">
                <a:moveTo>
                  <a:pt x="104278" y="126271"/>
                </a:moveTo>
                <a:lnTo>
                  <a:pt x="91458" y="129132"/>
                </a:lnTo>
                <a:lnTo>
                  <a:pt x="80927" y="136921"/>
                </a:lnTo>
                <a:lnTo>
                  <a:pt x="73794" y="148449"/>
                </a:lnTo>
                <a:lnTo>
                  <a:pt x="71170" y="162527"/>
                </a:lnTo>
                <a:lnTo>
                  <a:pt x="134607" y="162527"/>
                </a:lnTo>
                <a:lnTo>
                  <a:pt x="134607" y="147420"/>
                </a:lnTo>
                <a:lnTo>
                  <a:pt x="129486" y="139018"/>
                </a:lnTo>
                <a:lnTo>
                  <a:pt x="122501" y="132315"/>
                </a:lnTo>
                <a:lnTo>
                  <a:pt x="113987" y="127877"/>
                </a:lnTo>
                <a:lnTo>
                  <a:pt x="104278" y="126271"/>
                </a:lnTo>
                <a:close/>
              </a:path>
              <a:path w="323215" h="430529">
                <a:moveTo>
                  <a:pt x="323166" y="53776"/>
                </a:moveTo>
                <a:lnTo>
                  <a:pt x="282385" y="53776"/>
                </a:lnTo>
                <a:lnTo>
                  <a:pt x="282385" y="162527"/>
                </a:lnTo>
                <a:lnTo>
                  <a:pt x="323166" y="162527"/>
                </a:lnTo>
                <a:lnTo>
                  <a:pt x="323166" y="53776"/>
                </a:lnTo>
                <a:close/>
              </a:path>
            </a:pathLst>
          </a:custGeom>
          <a:solidFill>
            <a:srgbClr val="FDFDFD"/>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5400" b="1" i="0">
                <a:solidFill>
                  <a:schemeClr val="bg1"/>
                </a:solidFill>
                <a:latin typeface="Garamond"/>
                <a:cs typeface="Garamond"/>
              </a:defRPr>
            </a:lvl1pPr>
          </a:lstStyle>
          <a:p>
            <a:endParaRPr/>
          </a:p>
        </p:txBody>
      </p:sp>
      <p:sp>
        <p:nvSpPr>
          <p:cNvPr id="3" name="Holder 3"/>
          <p:cNvSpPr>
            <a:spLocks noGrp="1"/>
          </p:cNvSpPr>
          <p:nvPr>
            <p:ph type="body" idx="1"/>
          </p:nvPr>
        </p:nvSpPr>
        <p:spPr/>
        <p:txBody>
          <a:bodyPr lIns="0" tIns="0" rIns="0" bIns="0"/>
          <a:lstStyle>
            <a:lvl1pPr>
              <a:defRPr sz="1800" b="0" i="0">
                <a:solidFill>
                  <a:schemeClr val="bg1"/>
                </a:solidFill>
                <a:latin typeface="Baskerville Old Face"/>
                <a:cs typeface="Baskerville Old Face"/>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27" y="274638"/>
            <a:ext cx="7162799" cy="944562"/>
          </a:xfrm>
        </p:spPr>
        <p:txBody>
          <a:bodyPr/>
          <a:lstStyle>
            <a:lvl1pPr algn="l">
              <a:defRPr b="0">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AD3156AF-5727-4BA0-BEA0-8CDC6E0900A5}"/>
              </a:ext>
            </a:extLst>
          </p:cNvPr>
          <p:cNvSpPr>
            <a:spLocks noGrp="1"/>
          </p:cNvSpPr>
          <p:nvPr>
            <p:ph type="dt" sz="half" idx="10"/>
          </p:nvPr>
        </p:nvSpPr>
        <p:spPr/>
        <p:txBody>
          <a:bodyPr/>
          <a:lstStyle>
            <a:lvl1pPr fontAlgn="base">
              <a:spcBef>
                <a:spcPct val="0"/>
              </a:spcBef>
              <a:spcAft>
                <a:spcPct val="0"/>
              </a:spcAft>
              <a:defRPr>
                <a:latin typeface="Arial" pitchFamily="34" charset="0"/>
              </a:defRPr>
            </a:lvl1pPr>
          </a:lstStyle>
          <a:p>
            <a:pPr>
              <a:defRPr/>
            </a:pPr>
            <a:fld id="{EE7FEC01-41D7-4F29-9D4C-E91690C6C9BD}" type="datetime1">
              <a:rPr lang="en-US"/>
              <a:pPr>
                <a:defRPr/>
              </a:pPr>
              <a:t>6/11/2023</a:t>
            </a:fld>
            <a:endParaRPr lang="en-US" dirty="0"/>
          </a:p>
        </p:txBody>
      </p:sp>
      <p:sp>
        <p:nvSpPr>
          <p:cNvPr id="5" name="Footer Placeholder 4">
            <a:extLst>
              <a:ext uri="{FF2B5EF4-FFF2-40B4-BE49-F238E27FC236}">
                <a16:creationId xmlns:a16="http://schemas.microsoft.com/office/drawing/2014/main" id="{6E2B325B-0310-460E-A5D6-1E66A4F01400}"/>
              </a:ext>
            </a:extLst>
          </p:cNvPr>
          <p:cNvSpPr>
            <a:spLocks noGrp="1"/>
          </p:cNvSpPr>
          <p:nvPr>
            <p:ph type="ftr" sz="quarter" idx="11"/>
          </p:nvPr>
        </p:nvSpPr>
        <p:spPr/>
        <p:txBody>
          <a:bodyPr/>
          <a:lstStyle>
            <a:lvl1pPr fontAlgn="base">
              <a:spcBef>
                <a:spcPct val="0"/>
              </a:spcBef>
              <a:spcAft>
                <a:spcPct val="0"/>
              </a:spcAft>
              <a:defRPr>
                <a:latin typeface="Arial" pitchFamily="34" charset="0"/>
              </a:defRPr>
            </a:lvl1pPr>
          </a:lstStyle>
          <a:p>
            <a:pPr>
              <a:defRPr/>
            </a:pPr>
            <a:endParaRPr lang="en-US"/>
          </a:p>
        </p:txBody>
      </p:sp>
    </p:spTree>
    <p:extLst>
      <p:ext uri="{BB962C8B-B14F-4D97-AF65-F5344CB8AC3E}">
        <p14:creationId xmlns:p14="http://schemas.microsoft.com/office/powerpoint/2010/main" val="37238017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F13D747-EEDB-4752-8A0E-D667F0E00B57}" type="datetime1">
              <a:rPr lang="en-US" smtClean="0">
                <a:solidFill>
                  <a:prstClr val="black">
                    <a:tint val="75000"/>
                  </a:prstClr>
                </a:solidFill>
              </a:rPr>
              <a:pPr/>
              <a:t>6/1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S. Cunningham;  Intel Corporation; 2013</a:t>
            </a:r>
          </a:p>
        </p:txBody>
      </p:sp>
      <p:sp>
        <p:nvSpPr>
          <p:cNvPr id="7" name="Slide Number Placeholder 6"/>
          <p:cNvSpPr>
            <a:spLocks noGrp="1"/>
          </p:cNvSpPr>
          <p:nvPr>
            <p:ph type="sldNum" sz="quarter" idx="12"/>
          </p:nvPr>
        </p:nvSpPr>
        <p:spPr/>
        <p:txBody>
          <a:bodyPr/>
          <a:lstStyle/>
          <a:p>
            <a:fld id="{778D0224-7849-4939-A284-59648356A652}"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6399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409"/>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843436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4AD190BC-E08B-4EE5-A8F1-D579F087DC40}" type="slidenum">
              <a:rPr lang="en-CA" smtClean="0"/>
              <a:t>‹#›</a:t>
            </a:fld>
            <a:endParaRPr lang="en-CA" dirty="0"/>
          </a:p>
        </p:txBody>
      </p:sp>
    </p:spTree>
    <p:extLst>
      <p:ext uri="{BB962C8B-B14F-4D97-AF65-F5344CB8AC3E}">
        <p14:creationId xmlns:p14="http://schemas.microsoft.com/office/powerpoint/2010/main" val="2434317192"/>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2C79E97E-1D4A-47B3-9996-2449E3139E31}"/>
              </a:ext>
            </a:extLst>
          </p:cNvPr>
          <p:cNvSpPr>
            <a:spLocks noGrp="1" noChangeArrowheads="1"/>
          </p:cNvSpPr>
          <p:nvPr>
            <p:ph type="dt" sz="half" idx="10"/>
          </p:nvPr>
        </p:nvSpPr>
        <p:spPr>
          <a:ln/>
        </p:spPr>
        <p:txBody>
          <a:bodyPr/>
          <a:lstStyle>
            <a:lvl1pPr>
              <a:defRPr/>
            </a:lvl1pPr>
          </a:lstStyle>
          <a:p>
            <a:r>
              <a:rPr lang="de-DE" altLang="en-US"/>
              <a:t> - </a:t>
            </a:r>
            <a:fld id="{C798BE48-9B86-47A9-A37D-CD666845B098}" type="datetime1">
              <a:rPr lang="de-DE" altLang="en-US"/>
              <a:pPr/>
              <a:t>11.06.2023</a:t>
            </a:fld>
            <a:r>
              <a:rPr lang="de-DE" altLang="en-US"/>
              <a:t> - </a:t>
            </a:r>
            <a:fld id="{6CEF8F57-283B-4A22-BF15-EC5B6B72BD35}" type="slidenum">
              <a:rPr lang="de-DE" altLang="en-US"/>
              <a:pPr/>
              <a:t>‹#›</a:t>
            </a:fld>
            <a:endParaRPr lang="de-DE" altLang="en-US"/>
          </a:p>
          <a:p>
            <a:endParaRPr lang="de-DE" altLang="en-US"/>
          </a:p>
        </p:txBody>
      </p:sp>
    </p:spTree>
    <p:extLst>
      <p:ext uri="{BB962C8B-B14F-4D97-AF65-F5344CB8AC3E}">
        <p14:creationId xmlns:p14="http://schemas.microsoft.com/office/powerpoint/2010/main" val="13359867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917B7-9424-46A5-B3D2-25FC48602F4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D938CE0-577E-4373-B711-6FADD89EC3DB}"/>
              </a:ext>
            </a:extLst>
          </p:cNvPr>
          <p:cNvSpPr>
            <a:spLocks noGrp="1"/>
          </p:cNvSpPr>
          <p:nvPr>
            <p:ph idx="1"/>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pic>
        <p:nvPicPr>
          <p:cNvPr id="7" name="Picture 6">
            <a:extLst>
              <a:ext uri="{FF2B5EF4-FFF2-40B4-BE49-F238E27FC236}">
                <a16:creationId xmlns:a16="http://schemas.microsoft.com/office/drawing/2014/main" id="{BE20928F-7B24-435B-99C8-0284AB767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353" y="6543006"/>
            <a:ext cx="2483698" cy="219553"/>
          </a:xfrm>
          <a:prstGeom prst="rect">
            <a:avLst/>
          </a:prstGeom>
        </p:spPr>
      </p:pic>
      <p:sp>
        <p:nvSpPr>
          <p:cNvPr id="6" name="Date Placeholder 5">
            <a:extLst>
              <a:ext uri="{FF2B5EF4-FFF2-40B4-BE49-F238E27FC236}">
                <a16:creationId xmlns:a16="http://schemas.microsoft.com/office/drawing/2014/main" id="{3B9B2F65-1158-4BC0-9CEA-80ECA244B5FE}"/>
              </a:ext>
            </a:extLst>
          </p:cNvPr>
          <p:cNvSpPr>
            <a:spLocks noGrp="1"/>
          </p:cNvSpPr>
          <p:nvPr>
            <p:ph type="dt" sz="half" idx="10"/>
          </p:nvPr>
        </p:nvSpPr>
        <p:spPr/>
        <p:txBody>
          <a:bodyPr/>
          <a:lstStyle/>
          <a:p>
            <a:fld id="{13F54AF6-5BA3-4B9B-9E5C-5AD3EAFD3D83}" type="datetime1">
              <a:rPr lang="en-CA" smtClean="0"/>
              <a:t>2023-06-11</a:t>
            </a:fld>
            <a:endParaRPr lang="en-CA"/>
          </a:p>
        </p:txBody>
      </p:sp>
      <p:sp>
        <p:nvSpPr>
          <p:cNvPr id="23" name="Footer Placeholder 22">
            <a:extLst>
              <a:ext uri="{FF2B5EF4-FFF2-40B4-BE49-F238E27FC236}">
                <a16:creationId xmlns:a16="http://schemas.microsoft.com/office/drawing/2014/main" id="{AB228025-7DDC-4C10-9A1C-94CA8147A715}"/>
              </a:ext>
            </a:extLst>
          </p:cNvPr>
          <p:cNvSpPr>
            <a:spLocks noGrp="1"/>
          </p:cNvSpPr>
          <p:nvPr>
            <p:ph type="ftr" sz="quarter" idx="11"/>
          </p:nvPr>
        </p:nvSpPr>
        <p:spPr/>
        <p:txBody>
          <a:bodyPr/>
          <a:lstStyle/>
          <a:p>
            <a:endParaRPr lang="en-CA"/>
          </a:p>
        </p:txBody>
      </p:sp>
      <p:sp>
        <p:nvSpPr>
          <p:cNvPr id="8" name="Slide Number Placeholder 2">
            <a:extLst>
              <a:ext uri="{FF2B5EF4-FFF2-40B4-BE49-F238E27FC236}">
                <a16:creationId xmlns:a16="http://schemas.microsoft.com/office/drawing/2014/main" id="{46B7E961-42D4-46BE-88FC-B12D5DE472D0}"/>
              </a:ext>
            </a:extLst>
          </p:cNvPr>
          <p:cNvSpPr>
            <a:spLocks noGrp="1"/>
          </p:cNvSpPr>
          <p:nvPr>
            <p:ph type="sldNum" sz="quarter" idx="12"/>
          </p:nvPr>
        </p:nvSpPr>
        <p:spPr>
          <a:xfrm>
            <a:off x="6457950" y="6356351"/>
            <a:ext cx="2057400" cy="365125"/>
          </a:xfrm>
          <a:prstGeom prst="rect">
            <a:avLst/>
          </a:prstGeom>
        </p:spPr>
        <p:txBody>
          <a:bodyPr/>
          <a:lstStyle/>
          <a:p>
            <a:fld id="{602F7A02-EF0D-4D82-9BFD-3DDF074AABBD}" type="slidenum">
              <a:rPr lang="en-CA" smtClean="0"/>
              <a:t>‹#›</a:t>
            </a:fld>
            <a:endParaRPr lang="en-CA" dirty="0"/>
          </a:p>
        </p:txBody>
      </p:sp>
    </p:spTree>
    <p:extLst>
      <p:ext uri="{BB962C8B-B14F-4D97-AF65-F5344CB8AC3E}">
        <p14:creationId xmlns:p14="http://schemas.microsoft.com/office/powerpoint/2010/main" val="41047285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872EE94-3B56-4DF0-93A4-5CBF4C9E8CFC}"/>
              </a:ext>
            </a:extLst>
          </p:cNvPr>
          <p:cNvSpPr>
            <a:spLocks noGrp="1"/>
          </p:cNvSpPr>
          <p:nvPr>
            <p:ph type="dt" sz="half" idx="10"/>
          </p:nvPr>
        </p:nvSpPr>
        <p:spPr/>
        <p:txBody>
          <a:bodyPr/>
          <a:lstStyle/>
          <a:p>
            <a:fld id="{25C6B4B3-7F54-45F3-991E-973A1E34EA1C}" type="datetime1">
              <a:rPr lang="en-CA" smtClean="0"/>
              <a:t>2023-06-11</a:t>
            </a:fld>
            <a:endParaRPr lang="en-CA"/>
          </a:p>
        </p:txBody>
      </p:sp>
      <p:sp>
        <p:nvSpPr>
          <p:cNvPr id="3" name="Footer Placeholder 2">
            <a:extLst>
              <a:ext uri="{FF2B5EF4-FFF2-40B4-BE49-F238E27FC236}">
                <a16:creationId xmlns:a16="http://schemas.microsoft.com/office/drawing/2014/main" id="{AB3798EF-C20F-499C-9576-7F474B3627A8}"/>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F6CFDAD6-D466-4FFD-8E51-BCDAA8E72EC5}"/>
              </a:ext>
            </a:extLst>
          </p:cNvPr>
          <p:cNvSpPr>
            <a:spLocks noGrp="1"/>
          </p:cNvSpPr>
          <p:nvPr>
            <p:ph type="sldNum" sz="quarter" idx="12"/>
          </p:nvPr>
        </p:nvSpPr>
        <p:spPr>
          <a:xfrm>
            <a:off x="6457950" y="6356351"/>
            <a:ext cx="2057400" cy="365125"/>
          </a:xfrm>
          <a:prstGeom prst="rect">
            <a:avLst/>
          </a:prstGeom>
        </p:spPr>
        <p:txBody>
          <a:bodyPr/>
          <a:lstStyle/>
          <a:p>
            <a:fld id="{B1F560D5-53A7-4969-B8DF-E1F637D39903}" type="slidenum">
              <a:rPr lang="en-CA" smtClean="0"/>
              <a:t>‹#›</a:t>
            </a:fld>
            <a:endParaRPr lang="en-CA"/>
          </a:p>
        </p:txBody>
      </p:sp>
    </p:spTree>
    <p:extLst>
      <p:ext uri="{BB962C8B-B14F-4D97-AF65-F5344CB8AC3E}">
        <p14:creationId xmlns:p14="http://schemas.microsoft.com/office/powerpoint/2010/main" val="20175732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Default Slide">
  <p:cSld name="Default Slide">
    <p:spTree>
      <p:nvGrpSpPr>
        <p:cNvPr id="1" name="Shape 407"/>
        <p:cNvGrpSpPr/>
        <p:nvPr/>
      </p:nvGrpSpPr>
      <p:grpSpPr>
        <a:xfrm>
          <a:off x="0" y="0"/>
          <a:ext cx="0" cy="0"/>
          <a:chOff x="0" y="0"/>
          <a:chExt cx="0" cy="0"/>
        </a:xfrm>
      </p:grpSpPr>
    </p:spTree>
    <p:extLst>
      <p:ext uri="{BB962C8B-B14F-4D97-AF65-F5344CB8AC3E}">
        <p14:creationId xmlns:p14="http://schemas.microsoft.com/office/powerpoint/2010/main" val="13938050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2 - Image Slide 1">
  <p:cSld name="Image Slide 1">
    <p:bg>
      <p:bgPr>
        <a:blipFill>
          <a:blip r:embed="rId2">
            <a:alphaModFix/>
          </a:blip>
          <a:stretch>
            <a:fillRect/>
          </a:stretch>
        </a:blipFill>
        <a:effectLst/>
      </p:bgPr>
    </p:bg>
    <p:spTree>
      <p:nvGrpSpPr>
        <p:cNvPr id="1" name="Shape 32"/>
        <p:cNvGrpSpPr/>
        <p:nvPr/>
      </p:nvGrpSpPr>
      <p:grpSpPr>
        <a:xfrm>
          <a:off x="0" y="0"/>
          <a:ext cx="0" cy="0"/>
          <a:chOff x="0" y="0"/>
          <a:chExt cx="0" cy="0"/>
        </a:xfrm>
      </p:grpSpPr>
      <p:sp>
        <p:nvSpPr>
          <p:cNvPr id="33" name="Google Shape;33;p6"/>
          <p:cNvSpPr>
            <a:spLocks noGrp="1"/>
          </p:cNvSpPr>
          <p:nvPr>
            <p:ph type="pic" idx="2"/>
          </p:nvPr>
        </p:nvSpPr>
        <p:spPr>
          <a:xfrm>
            <a:off x="7258" y="9675"/>
            <a:ext cx="9143906" cy="5731500"/>
          </a:xfrm>
          <a:prstGeom prst="rect">
            <a:avLst/>
          </a:prstGeom>
          <a:noFill/>
          <a:ln>
            <a:noFill/>
          </a:ln>
        </p:spPr>
      </p:sp>
      <p:sp>
        <p:nvSpPr>
          <p:cNvPr id="34" name="Google Shape;34;p6"/>
          <p:cNvSpPr txBox="1">
            <a:spLocks noGrp="1"/>
          </p:cNvSpPr>
          <p:nvPr>
            <p:ph type="dt" idx="10"/>
          </p:nvPr>
        </p:nvSpPr>
        <p:spPr>
          <a:xfrm>
            <a:off x="5736168" y="6231468"/>
            <a:ext cx="2637687" cy="365100"/>
          </a:xfrm>
          <a:prstGeom prst="rect">
            <a:avLst/>
          </a:prstGeom>
          <a:noFill/>
          <a:ln>
            <a:noFill/>
          </a:ln>
        </p:spPr>
        <p:txBody>
          <a:bodyPr spcFirstLastPara="1" wrap="square" lIns="91425" tIns="91425" rIns="91425" bIns="91425" anchor="ctr" anchorCtr="0">
            <a:noAutofit/>
          </a:bodyPr>
          <a:lstStyle>
            <a:lvl1pPr marR="0" lvl="0" algn="r" rtl="0">
              <a:spcBef>
                <a:spcPts val="0"/>
              </a:spcBef>
              <a:spcAft>
                <a:spcPts val="0"/>
              </a:spcAft>
              <a:buSzPts val="1400"/>
              <a:buNone/>
              <a:defRPr sz="1050" i="0" u="none" strike="noStrike" cap="none">
                <a:solidFill>
                  <a:schemeClr val="dk1"/>
                </a:solidFill>
              </a:defRPr>
            </a:lvl1pPr>
            <a:lvl2pPr marR="0" lvl="1" algn="l" rtl="0">
              <a:spcBef>
                <a:spcPts val="0"/>
              </a:spcBef>
              <a:spcAft>
                <a:spcPts val="0"/>
              </a:spcAft>
              <a:buSzPts val="1400"/>
              <a:buNone/>
              <a:defRPr sz="1350" i="0" u="none" strike="noStrike" cap="none">
                <a:solidFill>
                  <a:schemeClr val="dk1"/>
                </a:solidFill>
              </a:defRPr>
            </a:lvl2pPr>
            <a:lvl3pPr marR="0" lvl="2" algn="l" rtl="0">
              <a:spcBef>
                <a:spcPts val="0"/>
              </a:spcBef>
              <a:spcAft>
                <a:spcPts val="0"/>
              </a:spcAft>
              <a:buSzPts val="1400"/>
              <a:buNone/>
              <a:defRPr sz="1350" i="0" u="none" strike="noStrike" cap="none">
                <a:solidFill>
                  <a:schemeClr val="dk1"/>
                </a:solidFill>
              </a:defRPr>
            </a:lvl3pPr>
            <a:lvl4pPr marR="0" lvl="3" algn="l" rtl="0">
              <a:spcBef>
                <a:spcPts val="0"/>
              </a:spcBef>
              <a:spcAft>
                <a:spcPts val="0"/>
              </a:spcAft>
              <a:buSzPts val="1400"/>
              <a:buNone/>
              <a:defRPr sz="1350" i="0" u="none" strike="noStrike" cap="none">
                <a:solidFill>
                  <a:schemeClr val="dk1"/>
                </a:solidFill>
              </a:defRPr>
            </a:lvl4pPr>
            <a:lvl5pPr marR="0" lvl="4" algn="l" rtl="0">
              <a:spcBef>
                <a:spcPts val="0"/>
              </a:spcBef>
              <a:spcAft>
                <a:spcPts val="0"/>
              </a:spcAft>
              <a:buSzPts val="1400"/>
              <a:buNone/>
              <a:defRPr sz="1350" i="0" u="none" strike="noStrike" cap="none">
                <a:solidFill>
                  <a:schemeClr val="dk1"/>
                </a:solidFill>
              </a:defRPr>
            </a:lvl5pPr>
            <a:lvl6pPr marR="0" lvl="5" algn="l" rtl="0">
              <a:spcBef>
                <a:spcPts val="0"/>
              </a:spcBef>
              <a:spcAft>
                <a:spcPts val="0"/>
              </a:spcAft>
              <a:buSzPts val="1400"/>
              <a:buNone/>
              <a:defRPr sz="1350" i="0" u="none" strike="noStrike" cap="none">
                <a:solidFill>
                  <a:schemeClr val="dk1"/>
                </a:solidFill>
              </a:defRPr>
            </a:lvl6pPr>
            <a:lvl7pPr marR="0" lvl="6" algn="l" rtl="0">
              <a:spcBef>
                <a:spcPts val="0"/>
              </a:spcBef>
              <a:spcAft>
                <a:spcPts val="0"/>
              </a:spcAft>
              <a:buSzPts val="1400"/>
              <a:buNone/>
              <a:defRPr sz="1350" i="0" u="none" strike="noStrike" cap="none">
                <a:solidFill>
                  <a:schemeClr val="dk1"/>
                </a:solidFill>
              </a:defRPr>
            </a:lvl7pPr>
            <a:lvl8pPr marR="0" lvl="7" algn="l" rtl="0">
              <a:spcBef>
                <a:spcPts val="0"/>
              </a:spcBef>
              <a:spcAft>
                <a:spcPts val="0"/>
              </a:spcAft>
              <a:buSzPts val="1400"/>
              <a:buNone/>
              <a:defRPr sz="1350" i="0" u="none" strike="noStrike" cap="none">
                <a:solidFill>
                  <a:schemeClr val="dk1"/>
                </a:solidFill>
              </a:defRPr>
            </a:lvl8pPr>
            <a:lvl9pPr marR="0" lvl="8" algn="l" rtl="0">
              <a:spcBef>
                <a:spcPts val="0"/>
              </a:spcBef>
              <a:spcAft>
                <a:spcPts val="0"/>
              </a:spcAft>
              <a:buSzPts val="1400"/>
              <a:buNone/>
              <a:defRPr sz="1350" i="0" u="none" strike="noStrike" cap="none">
                <a:solidFill>
                  <a:schemeClr val="dk1"/>
                </a:solidFill>
              </a:defRPr>
            </a:lvl9pPr>
          </a:lstStyle>
          <a:p>
            <a:endParaRPr/>
          </a:p>
        </p:txBody>
      </p:sp>
      <p:sp>
        <p:nvSpPr>
          <p:cNvPr id="35" name="Google Shape;35;p6"/>
          <p:cNvSpPr txBox="1">
            <a:spLocks noGrp="1"/>
          </p:cNvSpPr>
          <p:nvPr>
            <p:ph type="sldNum" idx="12"/>
          </p:nvPr>
        </p:nvSpPr>
        <p:spPr>
          <a:xfrm>
            <a:off x="8373883" y="6231468"/>
            <a:ext cx="330386" cy="3651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50" i="0" u="none" strike="noStrike" cap="none">
                <a:solidFill>
                  <a:schemeClr val="dk1"/>
                </a:solidFill>
              </a:defRPr>
            </a:lvl1pPr>
            <a:lvl2pPr marL="0" marR="0" lvl="1" indent="0" algn="r" rtl="0">
              <a:spcBef>
                <a:spcPts val="0"/>
              </a:spcBef>
              <a:buNone/>
              <a:defRPr sz="1050" i="0" u="none" strike="noStrike" cap="none">
                <a:solidFill>
                  <a:schemeClr val="dk1"/>
                </a:solidFill>
              </a:defRPr>
            </a:lvl2pPr>
            <a:lvl3pPr marL="0" marR="0" lvl="2" indent="0" algn="r" rtl="0">
              <a:spcBef>
                <a:spcPts val="0"/>
              </a:spcBef>
              <a:buNone/>
              <a:defRPr sz="1050" i="0" u="none" strike="noStrike" cap="none">
                <a:solidFill>
                  <a:schemeClr val="dk1"/>
                </a:solidFill>
              </a:defRPr>
            </a:lvl3pPr>
            <a:lvl4pPr marL="0" marR="0" lvl="3" indent="0" algn="r" rtl="0">
              <a:spcBef>
                <a:spcPts val="0"/>
              </a:spcBef>
              <a:buNone/>
              <a:defRPr sz="1050" i="0" u="none" strike="noStrike" cap="none">
                <a:solidFill>
                  <a:schemeClr val="dk1"/>
                </a:solidFill>
              </a:defRPr>
            </a:lvl4pPr>
            <a:lvl5pPr marL="0" marR="0" lvl="4" indent="0" algn="r" rtl="0">
              <a:spcBef>
                <a:spcPts val="0"/>
              </a:spcBef>
              <a:buNone/>
              <a:defRPr sz="1050" i="0" u="none" strike="noStrike" cap="none">
                <a:solidFill>
                  <a:schemeClr val="dk1"/>
                </a:solidFill>
              </a:defRPr>
            </a:lvl5pPr>
            <a:lvl6pPr marL="0" marR="0" lvl="5" indent="0" algn="r" rtl="0">
              <a:spcBef>
                <a:spcPts val="0"/>
              </a:spcBef>
              <a:buNone/>
              <a:defRPr sz="1050" i="0" u="none" strike="noStrike" cap="none">
                <a:solidFill>
                  <a:schemeClr val="dk1"/>
                </a:solidFill>
              </a:defRPr>
            </a:lvl6pPr>
            <a:lvl7pPr marL="0" marR="0" lvl="6" indent="0" algn="r" rtl="0">
              <a:spcBef>
                <a:spcPts val="0"/>
              </a:spcBef>
              <a:buNone/>
              <a:defRPr sz="1050" i="0" u="none" strike="noStrike" cap="none">
                <a:solidFill>
                  <a:schemeClr val="dk1"/>
                </a:solidFill>
              </a:defRPr>
            </a:lvl7pPr>
            <a:lvl8pPr marL="0" marR="0" lvl="7" indent="0" algn="r" rtl="0">
              <a:spcBef>
                <a:spcPts val="0"/>
              </a:spcBef>
              <a:buNone/>
              <a:defRPr sz="1050" i="0" u="none" strike="noStrike" cap="none">
                <a:solidFill>
                  <a:schemeClr val="dk1"/>
                </a:solidFill>
              </a:defRPr>
            </a:lvl8pPr>
            <a:lvl9pPr marL="0" marR="0" lvl="8" indent="0" algn="r" rtl="0">
              <a:spcBef>
                <a:spcPts val="0"/>
              </a:spcBef>
              <a:buNone/>
              <a:defRPr sz="1050" i="0" u="none" strike="noStrike" cap="none">
                <a:solidFill>
                  <a:schemeClr val="dk1"/>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405" y="13716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716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8839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05"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23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3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4998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68706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7251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5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1" y="273559"/>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454"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47433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0699411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27.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28.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2.xml"/><Relationship Id="rId1" Type="http://schemas.openxmlformats.org/officeDocument/2006/relationships/slideLayout" Target="../slideLayouts/slideLayout29.xml"/></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3.xml"/><Relationship Id="rId1" Type="http://schemas.openxmlformats.org/officeDocument/2006/relationships/slideLayout" Target="../slideLayouts/slideLayout30.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s>
</file>

<file path=ppt/slideMasters/_rels/slideMaster14.xml.rels><?xml version="1.0" encoding="UTF-8" standalone="yes"?>
<Relationships xmlns="http://schemas.openxmlformats.org/package/2006/relationships"><Relationship Id="rId3" Type="http://schemas.openxmlformats.org/officeDocument/2006/relationships/hyperlink" Target="http://www.osu.edu/" TargetMode="External"/><Relationship Id="rId2" Type="http://schemas.openxmlformats.org/officeDocument/2006/relationships/theme" Target="../theme/theme14.xml"/><Relationship Id="rId1" Type="http://schemas.openxmlformats.org/officeDocument/2006/relationships/slideLayout" Target="../slideLayouts/slideLayout31.xml"/><Relationship Id="rId4" Type="http://schemas.openxmlformats.org/officeDocument/2006/relationships/image" Target="../media/image10.png"/></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33.xml"/><Relationship Id="rId1" Type="http://schemas.openxmlformats.org/officeDocument/2006/relationships/slideLayout" Target="../slideLayouts/slideLayout32.xml"/><Relationship Id="rId5" Type="http://schemas.openxmlformats.org/officeDocument/2006/relationships/image" Target="../media/image11.png"/><Relationship Id="rId4" Type="http://schemas.openxmlformats.org/officeDocument/2006/relationships/image" Target="../media/image4.png"/></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35.xml"/><Relationship Id="rId1" Type="http://schemas.openxmlformats.org/officeDocument/2006/relationships/slideLayout" Target="../slideLayouts/slideLayout3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18.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5.tmp"/><Relationship Id="rId2" Type="http://schemas.openxmlformats.org/officeDocument/2006/relationships/theme" Target="../theme/theme6.xml"/><Relationship Id="rId1" Type="http://schemas.openxmlformats.org/officeDocument/2006/relationships/slideLayout" Target="../slideLayouts/slideLayout19.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5" Type="http://schemas.openxmlformats.org/officeDocument/2006/relationships/theme" Target="../theme/theme7.xml"/><Relationship Id="rId4" Type="http://schemas.openxmlformats.org/officeDocument/2006/relationships/slideLayout" Target="../slideLayouts/slideLayout23.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25.xml"/><Relationship Id="rId1" Type="http://schemas.openxmlformats.org/officeDocument/2006/relationships/slideLayout" Target="../slideLayouts/slideLayout24.xml"/></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34">
            <a:extLst>
              <a:ext uri="{FF2B5EF4-FFF2-40B4-BE49-F238E27FC236}">
                <a16:creationId xmlns:a16="http://schemas.microsoft.com/office/drawing/2014/main" id="{17E61B6E-DE6E-4FCB-95D9-DB1AD425A5CD}"/>
              </a:ext>
            </a:extLst>
          </p:cNvPr>
          <p:cNvSpPr>
            <a:spLocks noChangeArrowheads="1"/>
          </p:cNvSpPr>
          <p:nvPr/>
        </p:nvSpPr>
        <p:spPr bwMode="auto">
          <a:xfrm>
            <a:off x="0" y="6705600"/>
            <a:ext cx="9144000" cy="161925"/>
          </a:xfrm>
          <a:prstGeom prst="rect">
            <a:avLst/>
          </a:prstGeom>
          <a:solidFill>
            <a:srgbClr val="29539B"/>
          </a:solidFill>
          <a:ln>
            <a:noFill/>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27" name="Rectangle 144">
            <a:extLst>
              <a:ext uri="{FF2B5EF4-FFF2-40B4-BE49-F238E27FC236}">
                <a16:creationId xmlns:a16="http://schemas.microsoft.com/office/drawing/2014/main" id="{26D9DF7B-CAF8-4E60-9E5F-B37FF0CE24E6}"/>
              </a:ext>
            </a:extLst>
          </p:cNvPr>
          <p:cNvSpPr>
            <a:spLocks noChangeArrowheads="1"/>
          </p:cNvSpPr>
          <p:nvPr/>
        </p:nvSpPr>
        <p:spPr bwMode="auto">
          <a:xfrm>
            <a:off x="5257800" y="6705600"/>
            <a:ext cx="3886200" cy="161925"/>
          </a:xfrm>
          <a:prstGeom prst="rect">
            <a:avLst/>
          </a:prstGeom>
          <a:gradFill rotWithShape="0">
            <a:gsLst>
              <a:gs pos="0">
                <a:srgbClr val="29539B"/>
              </a:gs>
              <a:gs pos="100000">
                <a:schemeClr val="bg1"/>
              </a:gs>
            </a:gsLst>
            <a:lin ang="0" scaled="1"/>
          </a:gradFill>
          <a:ln>
            <a:noFill/>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28" name="Rectangle 120">
            <a:extLst>
              <a:ext uri="{FF2B5EF4-FFF2-40B4-BE49-F238E27FC236}">
                <a16:creationId xmlns:a16="http://schemas.microsoft.com/office/drawing/2014/main" id="{C240BDF2-08F1-42B8-8829-9397BF7F9603}"/>
              </a:ext>
            </a:extLst>
          </p:cNvPr>
          <p:cNvSpPr>
            <a:spLocks noChangeArrowheads="1"/>
          </p:cNvSpPr>
          <p:nvPr/>
        </p:nvSpPr>
        <p:spPr bwMode="auto">
          <a:xfrm>
            <a:off x="0" y="0"/>
            <a:ext cx="9144000" cy="914400"/>
          </a:xfrm>
          <a:prstGeom prst="rect">
            <a:avLst/>
          </a:prstGeom>
          <a:solidFill>
            <a:srgbClr val="29539B"/>
          </a:solidFill>
          <a:ln>
            <a:noFill/>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29" name="Rectangle 121">
            <a:extLst>
              <a:ext uri="{FF2B5EF4-FFF2-40B4-BE49-F238E27FC236}">
                <a16:creationId xmlns:a16="http://schemas.microsoft.com/office/drawing/2014/main" id="{1B73220D-9BCC-48DC-8CD0-71A4FBE97455}"/>
              </a:ext>
            </a:extLst>
          </p:cNvPr>
          <p:cNvSpPr>
            <a:spLocks noChangeArrowheads="1"/>
          </p:cNvSpPr>
          <p:nvPr/>
        </p:nvSpPr>
        <p:spPr bwMode="auto">
          <a:xfrm>
            <a:off x="5257800" y="0"/>
            <a:ext cx="3886200" cy="914400"/>
          </a:xfrm>
          <a:prstGeom prst="rect">
            <a:avLst/>
          </a:prstGeom>
          <a:gradFill rotWithShape="0">
            <a:gsLst>
              <a:gs pos="0">
                <a:srgbClr val="29539B"/>
              </a:gs>
              <a:gs pos="100000">
                <a:schemeClr val="bg1"/>
              </a:gs>
            </a:gsLst>
            <a:lin ang="0" scaled="1"/>
          </a:gradFill>
          <a:ln>
            <a:noFill/>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0" name="Rectangle 122">
            <a:extLst>
              <a:ext uri="{FF2B5EF4-FFF2-40B4-BE49-F238E27FC236}">
                <a16:creationId xmlns:a16="http://schemas.microsoft.com/office/drawing/2014/main" id="{EA1331FB-7DB0-4600-902B-5677C56AD861}"/>
              </a:ext>
            </a:extLst>
          </p:cNvPr>
          <p:cNvSpPr>
            <a:spLocks noChangeArrowheads="1"/>
          </p:cNvSpPr>
          <p:nvPr/>
        </p:nvSpPr>
        <p:spPr bwMode="auto">
          <a:xfrm>
            <a:off x="7315200" y="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1" name="Rectangle 123">
            <a:extLst>
              <a:ext uri="{FF2B5EF4-FFF2-40B4-BE49-F238E27FC236}">
                <a16:creationId xmlns:a16="http://schemas.microsoft.com/office/drawing/2014/main" id="{636C94BA-D168-4D2F-AE76-0C306BB4E435}"/>
              </a:ext>
            </a:extLst>
          </p:cNvPr>
          <p:cNvSpPr>
            <a:spLocks noChangeArrowheads="1"/>
          </p:cNvSpPr>
          <p:nvPr/>
        </p:nvSpPr>
        <p:spPr bwMode="auto">
          <a:xfrm>
            <a:off x="7772400" y="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2" name="Rectangle 124">
            <a:extLst>
              <a:ext uri="{FF2B5EF4-FFF2-40B4-BE49-F238E27FC236}">
                <a16:creationId xmlns:a16="http://schemas.microsoft.com/office/drawing/2014/main" id="{3CBABE5E-7B12-4B8E-93E4-6E79D592C6B9}"/>
              </a:ext>
            </a:extLst>
          </p:cNvPr>
          <p:cNvSpPr>
            <a:spLocks noChangeArrowheads="1"/>
          </p:cNvSpPr>
          <p:nvPr/>
        </p:nvSpPr>
        <p:spPr bwMode="auto">
          <a:xfrm>
            <a:off x="8229600" y="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3" name="Rectangle 125">
            <a:extLst>
              <a:ext uri="{FF2B5EF4-FFF2-40B4-BE49-F238E27FC236}">
                <a16:creationId xmlns:a16="http://schemas.microsoft.com/office/drawing/2014/main" id="{976BE5A0-C8A8-4052-AFBB-15335AC688E3}"/>
              </a:ext>
            </a:extLst>
          </p:cNvPr>
          <p:cNvSpPr>
            <a:spLocks noChangeArrowheads="1"/>
          </p:cNvSpPr>
          <p:nvPr/>
        </p:nvSpPr>
        <p:spPr bwMode="auto">
          <a:xfrm>
            <a:off x="8686800" y="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4" name="Rectangle 126">
            <a:extLst>
              <a:ext uri="{FF2B5EF4-FFF2-40B4-BE49-F238E27FC236}">
                <a16:creationId xmlns:a16="http://schemas.microsoft.com/office/drawing/2014/main" id="{C0985F2E-6F08-4FD3-8A75-3192715342B6}"/>
              </a:ext>
            </a:extLst>
          </p:cNvPr>
          <p:cNvSpPr>
            <a:spLocks noChangeArrowheads="1"/>
          </p:cNvSpPr>
          <p:nvPr/>
        </p:nvSpPr>
        <p:spPr bwMode="auto">
          <a:xfrm>
            <a:off x="6858000" y="45720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5" name="Rectangle 127">
            <a:extLst>
              <a:ext uri="{FF2B5EF4-FFF2-40B4-BE49-F238E27FC236}">
                <a16:creationId xmlns:a16="http://schemas.microsoft.com/office/drawing/2014/main" id="{FA0705C9-ACF8-47B2-86F5-F8648FA88CCF}"/>
              </a:ext>
            </a:extLst>
          </p:cNvPr>
          <p:cNvSpPr>
            <a:spLocks noChangeArrowheads="1"/>
          </p:cNvSpPr>
          <p:nvPr/>
        </p:nvSpPr>
        <p:spPr bwMode="auto">
          <a:xfrm>
            <a:off x="7315200" y="45720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6" name="Rectangle 128">
            <a:extLst>
              <a:ext uri="{FF2B5EF4-FFF2-40B4-BE49-F238E27FC236}">
                <a16:creationId xmlns:a16="http://schemas.microsoft.com/office/drawing/2014/main" id="{07C329CF-C39F-4923-9915-A1338F719ACF}"/>
              </a:ext>
            </a:extLst>
          </p:cNvPr>
          <p:cNvSpPr>
            <a:spLocks noChangeArrowheads="1"/>
          </p:cNvSpPr>
          <p:nvPr/>
        </p:nvSpPr>
        <p:spPr bwMode="auto">
          <a:xfrm>
            <a:off x="7772400" y="45720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7" name="Rectangle 129">
            <a:extLst>
              <a:ext uri="{FF2B5EF4-FFF2-40B4-BE49-F238E27FC236}">
                <a16:creationId xmlns:a16="http://schemas.microsoft.com/office/drawing/2014/main" id="{AB21303E-C21B-49DD-B204-D750831227D9}"/>
              </a:ext>
            </a:extLst>
          </p:cNvPr>
          <p:cNvSpPr>
            <a:spLocks noChangeArrowheads="1"/>
          </p:cNvSpPr>
          <p:nvPr/>
        </p:nvSpPr>
        <p:spPr bwMode="auto">
          <a:xfrm>
            <a:off x="8229600" y="45720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8" name="Rectangle 130">
            <a:extLst>
              <a:ext uri="{FF2B5EF4-FFF2-40B4-BE49-F238E27FC236}">
                <a16:creationId xmlns:a16="http://schemas.microsoft.com/office/drawing/2014/main" id="{A693250D-40E5-4B94-8F7C-6ECCD06415A2}"/>
              </a:ext>
            </a:extLst>
          </p:cNvPr>
          <p:cNvSpPr>
            <a:spLocks noChangeArrowheads="1"/>
          </p:cNvSpPr>
          <p:nvPr/>
        </p:nvSpPr>
        <p:spPr bwMode="auto">
          <a:xfrm>
            <a:off x="8686800" y="45720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9" name="Line 131">
            <a:extLst>
              <a:ext uri="{FF2B5EF4-FFF2-40B4-BE49-F238E27FC236}">
                <a16:creationId xmlns:a16="http://schemas.microsoft.com/office/drawing/2014/main" id="{C94BFBE8-8EC4-4316-9248-70CA39C75056}"/>
              </a:ext>
            </a:extLst>
          </p:cNvPr>
          <p:cNvSpPr>
            <a:spLocks noChangeShapeType="1"/>
          </p:cNvSpPr>
          <p:nvPr/>
        </p:nvSpPr>
        <p:spPr bwMode="auto">
          <a:xfrm flipH="1">
            <a:off x="0" y="990600"/>
            <a:ext cx="91440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0" name="Rectangle 118">
            <a:extLst>
              <a:ext uri="{FF2B5EF4-FFF2-40B4-BE49-F238E27FC236}">
                <a16:creationId xmlns:a16="http://schemas.microsoft.com/office/drawing/2014/main" id="{1FD56899-2742-4E64-865C-9E2A9DB4E3A3}"/>
              </a:ext>
            </a:extLst>
          </p:cNvPr>
          <p:cNvSpPr>
            <a:spLocks noGrp="1" noChangeArrowheads="1"/>
          </p:cNvSpPr>
          <p:nvPr>
            <p:ph type="title"/>
          </p:nvPr>
        </p:nvSpPr>
        <p:spPr bwMode="auto">
          <a:xfrm>
            <a:off x="381000" y="152400"/>
            <a:ext cx="6477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41" name="Rectangle 133">
            <a:extLst>
              <a:ext uri="{FF2B5EF4-FFF2-40B4-BE49-F238E27FC236}">
                <a16:creationId xmlns:a16="http://schemas.microsoft.com/office/drawing/2014/main" id="{9F7FD249-20FB-43AE-892B-E7DC8562D5DD}"/>
              </a:ext>
            </a:extLst>
          </p:cNvPr>
          <p:cNvSpPr>
            <a:spLocks noGrp="1" noChangeArrowheads="1"/>
          </p:cNvSpPr>
          <p:nvPr>
            <p:ph type="body" idx="1"/>
          </p:nvPr>
        </p:nvSpPr>
        <p:spPr bwMode="auto">
          <a:xfrm>
            <a:off x="152400" y="12954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42" name="Rectangle 139">
            <a:extLst>
              <a:ext uri="{FF2B5EF4-FFF2-40B4-BE49-F238E27FC236}">
                <a16:creationId xmlns:a16="http://schemas.microsoft.com/office/drawing/2014/main" id="{5609E548-98BD-4A2A-AE18-4F220793AB06}"/>
              </a:ext>
            </a:extLst>
          </p:cNvPr>
          <p:cNvSpPr>
            <a:spLocks noChangeArrowheads="1"/>
          </p:cNvSpPr>
          <p:nvPr/>
        </p:nvSpPr>
        <p:spPr bwMode="auto">
          <a:xfrm>
            <a:off x="6858000" y="6410325"/>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43" name="Rectangle 140">
            <a:extLst>
              <a:ext uri="{FF2B5EF4-FFF2-40B4-BE49-F238E27FC236}">
                <a16:creationId xmlns:a16="http://schemas.microsoft.com/office/drawing/2014/main" id="{D64FB7DF-4822-4ADF-A24C-218B6A0B8029}"/>
              </a:ext>
            </a:extLst>
          </p:cNvPr>
          <p:cNvSpPr>
            <a:spLocks noChangeArrowheads="1"/>
          </p:cNvSpPr>
          <p:nvPr/>
        </p:nvSpPr>
        <p:spPr bwMode="auto">
          <a:xfrm>
            <a:off x="7315200" y="6410325"/>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44" name="Rectangle 141">
            <a:extLst>
              <a:ext uri="{FF2B5EF4-FFF2-40B4-BE49-F238E27FC236}">
                <a16:creationId xmlns:a16="http://schemas.microsoft.com/office/drawing/2014/main" id="{97C5E42D-4BD3-422F-BD48-5FC4ABF39607}"/>
              </a:ext>
            </a:extLst>
          </p:cNvPr>
          <p:cNvSpPr>
            <a:spLocks noChangeArrowheads="1"/>
          </p:cNvSpPr>
          <p:nvPr/>
        </p:nvSpPr>
        <p:spPr bwMode="auto">
          <a:xfrm>
            <a:off x="7772400" y="6410325"/>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45" name="Rectangle 142">
            <a:extLst>
              <a:ext uri="{FF2B5EF4-FFF2-40B4-BE49-F238E27FC236}">
                <a16:creationId xmlns:a16="http://schemas.microsoft.com/office/drawing/2014/main" id="{9B926F2E-890A-4871-B0A2-9634FD497541}"/>
              </a:ext>
            </a:extLst>
          </p:cNvPr>
          <p:cNvSpPr>
            <a:spLocks noChangeArrowheads="1"/>
          </p:cNvSpPr>
          <p:nvPr/>
        </p:nvSpPr>
        <p:spPr bwMode="auto">
          <a:xfrm>
            <a:off x="8229600" y="6410325"/>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46" name="Rectangle 143">
            <a:extLst>
              <a:ext uri="{FF2B5EF4-FFF2-40B4-BE49-F238E27FC236}">
                <a16:creationId xmlns:a16="http://schemas.microsoft.com/office/drawing/2014/main" id="{B65F7FA1-518A-45A9-AD71-94E8269C1F29}"/>
              </a:ext>
            </a:extLst>
          </p:cNvPr>
          <p:cNvSpPr>
            <a:spLocks noChangeArrowheads="1"/>
          </p:cNvSpPr>
          <p:nvPr/>
        </p:nvSpPr>
        <p:spPr bwMode="auto">
          <a:xfrm>
            <a:off x="8686800" y="6410325"/>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Tree>
  </p:cSld>
  <p:clrMap bg1="lt1" tx1="dk1" bg2="lt2" tx2="dk2" accent1="accent1" accent2="accent2" accent3="accent3" accent4="accent4" accent5="accent5" accent6="accent6" hlink="hlink" folHlink="folHlink"/>
  <p:sldLayoutIdLst>
    <p:sldLayoutId id="2147489677" r:id="rId1"/>
    <p:sldLayoutId id="2147489664" r:id="rId2"/>
    <p:sldLayoutId id="2147489665" r:id="rId3"/>
    <p:sldLayoutId id="2147489666" r:id="rId4"/>
    <p:sldLayoutId id="2147489667" r:id="rId5"/>
    <p:sldLayoutId id="2147489668" r:id="rId6"/>
    <p:sldLayoutId id="2147489669" r:id="rId7"/>
    <p:sldLayoutId id="2147489670" r:id="rId8"/>
    <p:sldLayoutId id="2147489671" r:id="rId9"/>
    <p:sldLayoutId id="2147489672" r:id="rId10"/>
    <p:sldLayoutId id="2147489673" r:id="rId11"/>
    <p:sldLayoutId id="2147489674" r:id="rId12"/>
    <p:sldLayoutId id="2147489675" r:id="rId13"/>
  </p:sldLayoutIdLst>
  <p:hf hdr="0" ftr="0" dt="0"/>
  <p:txStyles>
    <p:titleStyle>
      <a:lvl1pPr algn="l" rtl="0" eaLnBrk="0" fontAlgn="base" hangingPunct="0">
        <a:spcBef>
          <a:spcPct val="0"/>
        </a:spcBef>
        <a:spcAft>
          <a:spcPct val="0"/>
        </a:spcAft>
        <a:defRPr sz="3200">
          <a:solidFill>
            <a:schemeClr val="bg1"/>
          </a:solidFill>
          <a:latin typeface="+mj-lt"/>
          <a:ea typeface="MS PGothic" pitchFamily="34" charset="-128"/>
          <a:cs typeface="+mj-cs"/>
        </a:defRPr>
      </a:lvl1pPr>
      <a:lvl2pPr algn="l" rtl="0" eaLnBrk="0" fontAlgn="base" hangingPunct="0">
        <a:spcBef>
          <a:spcPct val="0"/>
        </a:spcBef>
        <a:spcAft>
          <a:spcPct val="0"/>
        </a:spcAft>
        <a:defRPr sz="3200">
          <a:solidFill>
            <a:schemeClr val="bg1"/>
          </a:solidFill>
          <a:latin typeface="Arial" charset="0"/>
          <a:ea typeface="MS PGothic" pitchFamily="34" charset="-128"/>
        </a:defRPr>
      </a:lvl2pPr>
      <a:lvl3pPr algn="l" rtl="0" eaLnBrk="0" fontAlgn="base" hangingPunct="0">
        <a:spcBef>
          <a:spcPct val="0"/>
        </a:spcBef>
        <a:spcAft>
          <a:spcPct val="0"/>
        </a:spcAft>
        <a:defRPr sz="3200">
          <a:solidFill>
            <a:schemeClr val="bg1"/>
          </a:solidFill>
          <a:latin typeface="Arial" charset="0"/>
          <a:ea typeface="MS PGothic" pitchFamily="34" charset="-128"/>
        </a:defRPr>
      </a:lvl3pPr>
      <a:lvl4pPr algn="l" rtl="0" eaLnBrk="0" fontAlgn="base" hangingPunct="0">
        <a:spcBef>
          <a:spcPct val="0"/>
        </a:spcBef>
        <a:spcAft>
          <a:spcPct val="0"/>
        </a:spcAft>
        <a:defRPr sz="3200">
          <a:solidFill>
            <a:schemeClr val="bg1"/>
          </a:solidFill>
          <a:latin typeface="Arial" charset="0"/>
          <a:ea typeface="MS PGothic" pitchFamily="34" charset="-128"/>
        </a:defRPr>
      </a:lvl4pPr>
      <a:lvl5pPr algn="l" rtl="0" eaLnBrk="0" fontAlgn="base" hangingPunct="0">
        <a:spcBef>
          <a:spcPct val="0"/>
        </a:spcBef>
        <a:spcAft>
          <a:spcPct val="0"/>
        </a:spcAft>
        <a:defRPr sz="3200">
          <a:solidFill>
            <a:schemeClr val="bg1"/>
          </a:solidFill>
          <a:latin typeface="Arial" charset="0"/>
          <a:ea typeface="MS PGothic" pitchFamily="34" charset="-128"/>
        </a:defRPr>
      </a:lvl5pPr>
      <a:lvl6pPr marL="457200" algn="l" rtl="0" fontAlgn="base">
        <a:spcBef>
          <a:spcPct val="0"/>
        </a:spcBef>
        <a:spcAft>
          <a:spcPct val="0"/>
        </a:spcAft>
        <a:defRPr sz="3200">
          <a:solidFill>
            <a:schemeClr val="bg1"/>
          </a:solidFill>
          <a:latin typeface="Arial" charset="0"/>
          <a:ea typeface="ＭＳ Ｐゴシック" pitchFamily="1" charset="-128"/>
        </a:defRPr>
      </a:lvl6pPr>
      <a:lvl7pPr marL="914400" algn="l" rtl="0" fontAlgn="base">
        <a:spcBef>
          <a:spcPct val="0"/>
        </a:spcBef>
        <a:spcAft>
          <a:spcPct val="0"/>
        </a:spcAft>
        <a:defRPr sz="3200">
          <a:solidFill>
            <a:schemeClr val="bg1"/>
          </a:solidFill>
          <a:latin typeface="Arial" charset="0"/>
          <a:ea typeface="ＭＳ Ｐゴシック" pitchFamily="1" charset="-128"/>
        </a:defRPr>
      </a:lvl7pPr>
      <a:lvl8pPr marL="1371600" algn="l" rtl="0" fontAlgn="base">
        <a:spcBef>
          <a:spcPct val="0"/>
        </a:spcBef>
        <a:spcAft>
          <a:spcPct val="0"/>
        </a:spcAft>
        <a:defRPr sz="3200">
          <a:solidFill>
            <a:schemeClr val="bg1"/>
          </a:solidFill>
          <a:latin typeface="Arial" charset="0"/>
          <a:ea typeface="ＭＳ Ｐゴシック" pitchFamily="1" charset="-128"/>
        </a:defRPr>
      </a:lvl8pPr>
      <a:lvl9pPr marL="1828800" algn="l" rtl="0" fontAlgn="base">
        <a:spcBef>
          <a:spcPct val="0"/>
        </a:spcBef>
        <a:spcAft>
          <a:spcPct val="0"/>
        </a:spcAft>
        <a:defRPr sz="3200">
          <a:solidFill>
            <a:schemeClr val="bg1"/>
          </a:solidFill>
          <a:latin typeface="Arial" charset="0"/>
          <a:ea typeface="ＭＳ Ｐゴシック" pitchFamily="1" charset="-128"/>
        </a:defRPr>
      </a:lvl9pPr>
    </p:titleStyle>
    <p:bodyStyle>
      <a:lvl1pPr marL="266700" indent="-266700" algn="l" rtl="0" eaLnBrk="0" fontAlgn="base" hangingPunct="0">
        <a:spcBef>
          <a:spcPct val="30000"/>
        </a:spcBef>
        <a:spcAft>
          <a:spcPct val="0"/>
        </a:spcAft>
        <a:buClr>
          <a:schemeClr val="folHlink"/>
        </a:buClr>
        <a:buFont typeface="Wingdings" panose="05000000000000000000" pitchFamily="2" charset="2"/>
        <a:buChar char=""/>
        <a:defRPr>
          <a:solidFill>
            <a:schemeClr val="tx1"/>
          </a:solidFill>
          <a:latin typeface="+mn-lt"/>
          <a:ea typeface="MS PGothic" pitchFamily="34" charset="-128"/>
          <a:cs typeface="+mn-cs"/>
        </a:defRPr>
      </a:lvl1pPr>
      <a:lvl2pPr marL="679450" indent="-233363" algn="l" rtl="0" eaLnBrk="0" fontAlgn="base" hangingPunct="0">
        <a:spcBef>
          <a:spcPct val="10000"/>
        </a:spcBef>
        <a:spcAft>
          <a:spcPct val="0"/>
        </a:spcAft>
        <a:buClr>
          <a:schemeClr val="tx1"/>
        </a:buClr>
        <a:buSzPct val="80000"/>
        <a:buFont typeface="Arial" panose="020B0604020202020204" pitchFamily="34" charset="0"/>
        <a:buChar char="−"/>
        <a:defRPr sz="1600">
          <a:solidFill>
            <a:schemeClr val="tx1"/>
          </a:solidFill>
          <a:latin typeface="+mn-lt"/>
          <a:ea typeface="MS PGothic" pitchFamily="34" charset="-128"/>
        </a:defRPr>
      </a:lvl2pPr>
      <a:lvl3pPr marL="1082675" indent="-223838" algn="l" rtl="0" eaLnBrk="0" fontAlgn="base" hangingPunct="0">
        <a:spcBef>
          <a:spcPct val="30000"/>
        </a:spcBef>
        <a:spcAft>
          <a:spcPct val="0"/>
        </a:spcAft>
        <a:buChar char="–"/>
        <a:defRPr sz="1400">
          <a:solidFill>
            <a:schemeClr val="tx1"/>
          </a:solidFill>
          <a:latin typeface="+mn-lt"/>
          <a:ea typeface="MS PGothic" pitchFamily="34" charset="-128"/>
        </a:defRPr>
      </a:lvl3pPr>
      <a:lvl4pPr marL="1490663" indent="-228600" algn="l" rtl="0" eaLnBrk="0" fontAlgn="base" hangingPunct="0">
        <a:spcBef>
          <a:spcPct val="30000"/>
        </a:spcBef>
        <a:spcAft>
          <a:spcPct val="0"/>
        </a:spcAft>
        <a:buChar char="–"/>
        <a:defRPr sz="1200">
          <a:solidFill>
            <a:schemeClr val="tx1"/>
          </a:solidFill>
          <a:latin typeface="+mn-lt"/>
          <a:ea typeface="MS PGothic" pitchFamily="34" charset="-128"/>
        </a:defRPr>
      </a:lvl4pPr>
      <a:lvl5pPr marL="1843088" indent="-173038" algn="l" rtl="0" eaLnBrk="0" fontAlgn="base" hangingPunct="0">
        <a:spcBef>
          <a:spcPct val="30000"/>
        </a:spcBef>
        <a:spcAft>
          <a:spcPct val="0"/>
        </a:spcAft>
        <a:buChar char="»"/>
        <a:defRPr sz="1000">
          <a:solidFill>
            <a:schemeClr val="tx1"/>
          </a:solidFill>
          <a:latin typeface="+mn-lt"/>
          <a:ea typeface="MS PGothic" pitchFamily="34" charset="-128"/>
        </a:defRPr>
      </a:lvl5pPr>
      <a:lvl6pPr marL="2300288" indent="-173038" algn="l" rtl="0" fontAlgn="base">
        <a:spcBef>
          <a:spcPct val="30000"/>
        </a:spcBef>
        <a:spcAft>
          <a:spcPct val="0"/>
        </a:spcAft>
        <a:buChar char="»"/>
        <a:defRPr sz="1000">
          <a:solidFill>
            <a:schemeClr val="tx1"/>
          </a:solidFill>
          <a:latin typeface="+mn-lt"/>
          <a:ea typeface="+mn-ea"/>
        </a:defRPr>
      </a:lvl6pPr>
      <a:lvl7pPr marL="2757488" indent="-173038" algn="l" rtl="0" fontAlgn="base">
        <a:spcBef>
          <a:spcPct val="30000"/>
        </a:spcBef>
        <a:spcAft>
          <a:spcPct val="0"/>
        </a:spcAft>
        <a:buChar char="»"/>
        <a:defRPr sz="1000">
          <a:solidFill>
            <a:schemeClr val="tx1"/>
          </a:solidFill>
          <a:latin typeface="+mn-lt"/>
          <a:ea typeface="+mn-ea"/>
        </a:defRPr>
      </a:lvl7pPr>
      <a:lvl8pPr marL="3214688" indent="-173038" algn="l" rtl="0" fontAlgn="base">
        <a:spcBef>
          <a:spcPct val="30000"/>
        </a:spcBef>
        <a:spcAft>
          <a:spcPct val="0"/>
        </a:spcAft>
        <a:buChar char="»"/>
        <a:defRPr sz="1000">
          <a:solidFill>
            <a:schemeClr val="tx1"/>
          </a:solidFill>
          <a:latin typeface="+mn-lt"/>
          <a:ea typeface="+mn-ea"/>
        </a:defRPr>
      </a:lvl8pPr>
      <a:lvl9pPr marL="3671888" indent="-173038" algn="l" rtl="0" fontAlgn="base">
        <a:spcBef>
          <a:spcPct val="30000"/>
        </a:spcBef>
        <a:spcAft>
          <a:spcPct val="0"/>
        </a:spcAft>
        <a:buChar char="»"/>
        <a:defRPr sz="1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Title Placeholder 1">
            <a:extLst>
              <a:ext uri="{FF2B5EF4-FFF2-40B4-BE49-F238E27FC236}">
                <a16:creationId xmlns:a16="http://schemas.microsoft.com/office/drawing/2014/main" id="{4FB5E34D-6B26-4139-A4F7-4B64C6BAF183}"/>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7171" name="Text Placeholder 2">
            <a:extLst>
              <a:ext uri="{FF2B5EF4-FFF2-40B4-BE49-F238E27FC236}">
                <a16:creationId xmlns:a16="http://schemas.microsoft.com/office/drawing/2014/main" id="{4221A8B1-5228-4D69-B6F8-1EEE05E5CE0E}"/>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1B9439DE-FC2C-42A6-BF4F-E87EE887647C}"/>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Arial"/>
              </a:defRPr>
            </a:lvl1pPr>
          </a:lstStyle>
          <a:p>
            <a:pPr>
              <a:defRPr/>
            </a:pPr>
            <a:fld id="{3F64D7A8-3E42-4539-B11C-94569FCCADAE}" type="datetime1">
              <a:rPr lang="en-US"/>
              <a:pPr>
                <a:defRPr/>
              </a:pPr>
              <a:t>6/11/2023</a:t>
            </a:fld>
            <a:endParaRPr lang="en-US" dirty="0"/>
          </a:p>
        </p:txBody>
      </p:sp>
      <p:sp>
        <p:nvSpPr>
          <p:cNvPr id="5" name="Footer Placeholder 4">
            <a:extLst>
              <a:ext uri="{FF2B5EF4-FFF2-40B4-BE49-F238E27FC236}">
                <a16:creationId xmlns:a16="http://schemas.microsoft.com/office/drawing/2014/main" id="{398329D3-2B85-4749-945D-4410E6D5ED80}"/>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Arial"/>
              </a:defRPr>
            </a:lvl1pPr>
          </a:lstStyle>
          <a:p>
            <a:pPr>
              <a:defRPr/>
            </a:pPr>
            <a:endParaRPr lang="en-US"/>
          </a:p>
        </p:txBody>
      </p:sp>
      <p:sp>
        <p:nvSpPr>
          <p:cNvPr id="9" name="Rectangle 8">
            <a:extLst>
              <a:ext uri="{FF2B5EF4-FFF2-40B4-BE49-F238E27FC236}">
                <a16:creationId xmlns:a16="http://schemas.microsoft.com/office/drawing/2014/main" id="{9725F147-FAB1-41B2-82A2-A808AE638D5C}"/>
              </a:ext>
            </a:extLst>
          </p:cNvPr>
          <p:cNvSpPr/>
          <p:nvPr/>
        </p:nvSpPr>
        <p:spPr>
          <a:xfrm>
            <a:off x="0" y="0"/>
            <a:ext cx="9144000" cy="1371600"/>
          </a:xfrm>
          <a:prstGeom prst="rect">
            <a:avLst/>
          </a:prstGeom>
          <a:gradFill flip="none" rotWithShape="1">
            <a:gsLst>
              <a:gs pos="0">
                <a:schemeClr val="tx2">
                  <a:lumMod val="50000"/>
                </a:schemeClr>
              </a:gs>
              <a:gs pos="70000">
                <a:srgbClr val="132D4D"/>
              </a:gs>
              <a:gs pos="30000">
                <a:srgbClr val="132D4D"/>
              </a:gs>
              <a:gs pos="50000">
                <a:schemeClr val="tx2">
                  <a:lumMod val="75000"/>
                </a:schemeClr>
              </a:gs>
              <a:gs pos="100000">
                <a:schemeClr val="tx2">
                  <a:lumMod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Tree>
  </p:cSld>
  <p:clrMap bg1="lt1" tx1="dk1" bg2="lt2" tx2="dk2" accent1="accent1" accent2="accent2" accent3="accent3" accent4="accent4" accent5="accent5" accent6="accent6" hlink="hlink" folHlink="folHlink"/>
  <p:sldLayoutIdLst>
    <p:sldLayoutId id="2147484076" r:id="rId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charset="0"/>
        </a:defRPr>
      </a:lvl2pPr>
      <a:lvl3pPr algn="ctr" rtl="0" eaLnBrk="0" fontAlgn="base" hangingPunct="0">
        <a:spcBef>
          <a:spcPct val="0"/>
        </a:spcBef>
        <a:spcAft>
          <a:spcPct val="0"/>
        </a:spcAft>
        <a:defRPr sz="4400">
          <a:solidFill>
            <a:schemeClr val="tx1"/>
          </a:solidFill>
          <a:latin typeface="Arial" charset="0"/>
        </a:defRPr>
      </a:lvl3pPr>
      <a:lvl4pPr algn="ctr" rtl="0" eaLnBrk="0" fontAlgn="base" hangingPunct="0">
        <a:spcBef>
          <a:spcPct val="0"/>
        </a:spcBef>
        <a:spcAft>
          <a:spcPct val="0"/>
        </a:spcAft>
        <a:defRPr sz="4400">
          <a:solidFill>
            <a:schemeClr val="tx1"/>
          </a:solidFill>
          <a:latin typeface="Arial" charset="0"/>
        </a:defRPr>
      </a:lvl4pPr>
      <a:lvl5pPr algn="ctr" rtl="0" eaLnBrk="0" fontAlgn="base" hangingPunct="0">
        <a:spcBef>
          <a:spcPct val="0"/>
        </a:spcBef>
        <a:spcAft>
          <a:spcPct val="0"/>
        </a:spcAft>
        <a:defRPr sz="4400">
          <a:solidFill>
            <a:schemeClr val="tx1"/>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1" y="160020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576"/>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EE73FE9D-8277-4908-BEF9-5B6F6CF46737}" type="datetime1">
              <a:rPr lang="en-US" smtClean="0">
                <a:solidFill>
                  <a:prstClr val="black">
                    <a:tint val="75000"/>
                  </a:prstClr>
                </a:solidFill>
                <a:latin typeface="Calibri"/>
              </a:rPr>
              <a:pPr eaLnBrk="1" fontAlgn="auto" hangingPunct="1">
                <a:spcBef>
                  <a:spcPts val="0"/>
                </a:spcBef>
                <a:spcAft>
                  <a:spcPts val="0"/>
                </a:spcAft>
              </a:pPr>
              <a:t>6/11/2023</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1" y="6356576"/>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r>
              <a:rPr lang="en-US">
                <a:solidFill>
                  <a:prstClr val="black">
                    <a:tint val="75000"/>
                  </a:prstClr>
                </a:solidFill>
                <a:latin typeface="Calibri"/>
              </a:rPr>
              <a:t>S. Cunningham;  Intel Corporation; 2013</a:t>
            </a:r>
          </a:p>
        </p:txBody>
      </p:sp>
      <p:sp>
        <p:nvSpPr>
          <p:cNvPr id="6" name="Slide Number Placeholder 5"/>
          <p:cNvSpPr>
            <a:spLocks noGrp="1"/>
          </p:cNvSpPr>
          <p:nvPr>
            <p:ph type="sldNum" sz="quarter" idx="4"/>
          </p:nvPr>
        </p:nvSpPr>
        <p:spPr>
          <a:xfrm>
            <a:off x="6553201" y="635657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778D0224-7849-4939-A284-59648356A652}" type="slidenum">
              <a:rPr lang="en-US" smtClean="0">
                <a:solidFill>
                  <a:prstClr val="black">
                    <a:tint val="75000"/>
                  </a:prstClr>
                </a:solidFill>
                <a:latin typeface="Calibri"/>
              </a:rPr>
              <a:pPr eaLnBrk="1" fontAlgn="auto" hangingPunct="1">
                <a:spcBef>
                  <a:spcPts val="0"/>
                </a:spcBef>
                <a:spcAft>
                  <a:spcPts val="0"/>
                </a:spcAft>
              </a:pPr>
              <a:t>‹#›</a:t>
            </a:fld>
            <a:endParaRPr lang="en-US">
              <a:solidFill>
                <a:prstClr val="black">
                  <a:tint val="75000"/>
                </a:prstClr>
              </a:solidFill>
              <a:latin typeface="Calibri"/>
            </a:endParaRPr>
          </a:p>
        </p:txBody>
      </p:sp>
    </p:spTree>
  </p:cSld>
  <p:clrMap bg1="lt1" tx1="dk1" bg2="lt2" tx2="dk2" accent1="accent1" accent2="accent2" accent3="accent3" accent4="accent4" accent5="accent5" accent6="accent6" hlink="hlink" folHlink="folHlink"/>
  <p:sldLayoutIdLst>
    <p:sldLayoutId id="2147484522" r:id="rId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979D7F57-3150-4B6F-A3DD-1CF317ABC96D}"/>
              </a:ext>
            </a:extLst>
          </p:cNvPr>
          <p:cNvSpPr>
            <a:spLocks noGrp="1" noChangeArrowheads="1"/>
          </p:cNvSpPr>
          <p:nvPr>
            <p:ph type="title"/>
          </p:nvPr>
        </p:nvSpPr>
        <p:spPr bwMode="auto">
          <a:xfrm>
            <a:off x="457200" y="550863"/>
            <a:ext cx="8229600"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en-US"/>
              <a:t>ISE 608 (LS) </a:t>
            </a:r>
          </a:p>
        </p:txBody>
      </p:sp>
      <p:sp>
        <p:nvSpPr>
          <p:cNvPr id="1027" name="Rectangle 3">
            <a:extLst>
              <a:ext uri="{FF2B5EF4-FFF2-40B4-BE49-F238E27FC236}">
                <a16:creationId xmlns:a16="http://schemas.microsoft.com/office/drawing/2014/main" id="{2F2C99E1-DA48-40D8-8696-0221F59293FE}"/>
              </a:ext>
            </a:extLst>
          </p:cNvPr>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p:txBody>
      </p:sp>
      <p:sp>
        <p:nvSpPr>
          <p:cNvPr id="984068" name="Rectangle 4">
            <a:extLst>
              <a:ext uri="{FF2B5EF4-FFF2-40B4-BE49-F238E27FC236}">
                <a16:creationId xmlns:a16="http://schemas.microsoft.com/office/drawing/2014/main" id="{82B190FB-11A6-4565-84AF-B3058594D6BC}"/>
              </a:ext>
            </a:extLst>
          </p:cNvPr>
          <p:cNvSpPr>
            <a:spLocks noGrp="1" noChangeArrowheads="1"/>
          </p:cNvSpPr>
          <p:nvPr>
            <p:ph type="dt" sz="half" idx="2"/>
          </p:nvPr>
        </p:nvSpPr>
        <p:spPr bwMode="auto">
          <a:xfrm>
            <a:off x="7439025" y="6459538"/>
            <a:ext cx="1752600" cy="3587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rgbClr val="000000"/>
                </a:solidFill>
                <a:latin typeface="Arial" panose="020B0604020202020204" pitchFamily="34" charset="0"/>
              </a:defRPr>
            </a:lvl1pPr>
          </a:lstStyle>
          <a:p>
            <a:r>
              <a:rPr lang="de-DE" altLang="en-US"/>
              <a:t> - </a:t>
            </a:r>
            <a:fld id="{4A394591-01D6-4DDC-A9F2-02B77FBBD157}" type="datetime1">
              <a:rPr lang="de-DE" altLang="en-US"/>
              <a:pPr/>
              <a:t>11.06.2023</a:t>
            </a:fld>
            <a:r>
              <a:rPr lang="de-DE" altLang="en-US"/>
              <a:t> - </a:t>
            </a:r>
            <a:fld id="{37A18420-3973-4411-B506-067E2CFFBA13}" type="slidenum">
              <a:rPr lang="de-DE" altLang="en-US"/>
              <a:pPr/>
              <a:t>‹#›</a:t>
            </a:fld>
            <a:endParaRPr lang="de-DE" altLang="en-US"/>
          </a:p>
          <a:p>
            <a:endParaRPr lang="de-DE" altLang="en-US"/>
          </a:p>
        </p:txBody>
      </p:sp>
      <p:sp>
        <p:nvSpPr>
          <p:cNvPr id="1029" name="Line 11">
            <a:extLst>
              <a:ext uri="{FF2B5EF4-FFF2-40B4-BE49-F238E27FC236}">
                <a16:creationId xmlns:a16="http://schemas.microsoft.com/office/drawing/2014/main" id="{885DD12D-EC9B-471F-B8D2-4EBDBC39AA2C}"/>
              </a:ext>
            </a:extLst>
          </p:cNvPr>
          <p:cNvSpPr>
            <a:spLocks noChangeShapeType="1"/>
          </p:cNvSpPr>
          <p:nvPr/>
        </p:nvSpPr>
        <p:spPr bwMode="auto">
          <a:xfrm>
            <a:off x="457200" y="1314450"/>
            <a:ext cx="8229600" cy="0"/>
          </a:xfrm>
          <a:prstGeom prst="line">
            <a:avLst/>
          </a:prstGeom>
          <a:noFill/>
          <a:ln w="1905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30" name="Line 13">
            <a:extLst>
              <a:ext uri="{FF2B5EF4-FFF2-40B4-BE49-F238E27FC236}">
                <a16:creationId xmlns:a16="http://schemas.microsoft.com/office/drawing/2014/main" id="{1C17121A-D014-4249-BFAB-1F19C0E57A92}"/>
              </a:ext>
            </a:extLst>
          </p:cNvPr>
          <p:cNvSpPr>
            <a:spLocks noChangeShapeType="1"/>
          </p:cNvSpPr>
          <p:nvPr/>
        </p:nvSpPr>
        <p:spPr bwMode="auto">
          <a:xfrm>
            <a:off x="454025" y="6388100"/>
            <a:ext cx="8229600" cy="0"/>
          </a:xfrm>
          <a:prstGeom prst="line">
            <a:avLst/>
          </a:prstGeom>
          <a:noFill/>
          <a:ln w="1905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pic>
        <p:nvPicPr>
          <p:cNvPr id="5" name="Picture 4" descr="A screenshot of a cell phone&#10;&#10;Description automatically generated">
            <a:extLst>
              <a:ext uri="{FF2B5EF4-FFF2-40B4-BE49-F238E27FC236}">
                <a16:creationId xmlns:a16="http://schemas.microsoft.com/office/drawing/2014/main" id="{73E4A1C8-4634-440E-A9E1-7D320288325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971800" y="6459538"/>
            <a:ext cx="2514600" cy="353994"/>
          </a:xfrm>
          <a:prstGeom prst="rect">
            <a:avLst/>
          </a:prstGeom>
        </p:spPr>
      </p:pic>
    </p:spTree>
  </p:cSld>
  <p:clrMap bg1="lt1" tx1="dk1" bg2="lt2" tx2="dk2" accent1="accent1" accent2="accent2" accent3="accent3" accent4="accent4" accent5="accent5" accent6="accent6" hlink="hlink" folHlink="folHlink"/>
  <p:sldLayoutIdLst>
    <p:sldLayoutId id="2147497329" r:id="rId1"/>
  </p:sldLayoutIdLst>
  <p:hf hdr="0" ftr="0"/>
  <p:txStyles>
    <p:title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7200" algn="l" rtl="0" fontAlgn="base">
        <a:spcBef>
          <a:spcPct val="0"/>
        </a:spcBef>
        <a:spcAft>
          <a:spcPct val="0"/>
        </a:spcAft>
        <a:defRPr sz="3200" b="1">
          <a:solidFill>
            <a:schemeClr val="tx2"/>
          </a:solidFill>
          <a:latin typeface="Arial" charset="0"/>
        </a:defRPr>
      </a:lvl6pPr>
      <a:lvl7pPr marL="914400" algn="l" rtl="0" fontAlgn="base">
        <a:spcBef>
          <a:spcPct val="0"/>
        </a:spcBef>
        <a:spcAft>
          <a:spcPct val="0"/>
        </a:spcAft>
        <a:defRPr sz="3200" b="1">
          <a:solidFill>
            <a:schemeClr val="tx2"/>
          </a:solidFill>
          <a:latin typeface="Arial" charset="0"/>
        </a:defRPr>
      </a:lvl7pPr>
      <a:lvl8pPr marL="1371600" algn="l" rtl="0" fontAlgn="base">
        <a:spcBef>
          <a:spcPct val="0"/>
        </a:spcBef>
        <a:spcAft>
          <a:spcPct val="0"/>
        </a:spcAft>
        <a:defRPr sz="3200" b="1">
          <a:solidFill>
            <a:schemeClr val="tx2"/>
          </a:solidFill>
          <a:latin typeface="Arial" charset="0"/>
        </a:defRPr>
      </a:lvl8pPr>
      <a:lvl9pPr marL="1828800" algn="l" rtl="0" fontAlgn="base">
        <a:spcBef>
          <a:spcPct val="0"/>
        </a:spcBef>
        <a:spcAft>
          <a:spcPct val="0"/>
        </a:spcAft>
        <a:defRPr sz="3200" b="1">
          <a:solidFill>
            <a:schemeClr val="tx2"/>
          </a:solidFill>
          <a:latin typeface="Arial" charset="0"/>
        </a:defRPr>
      </a:lvl9pPr>
    </p:titleStyle>
    <p:bodyStyle>
      <a:lvl1pPr marL="342900" indent="-342900" algn="l" rtl="0" eaLnBrk="0" fontAlgn="base" hangingPunct="0">
        <a:spcBef>
          <a:spcPct val="20000"/>
        </a:spcBef>
        <a:spcAft>
          <a:spcPct val="0"/>
        </a:spcAft>
        <a:buClr>
          <a:srgbClr val="CC0000"/>
        </a:buClr>
        <a:buFont typeface="Wingdings" panose="05000000000000000000" pitchFamily="2" charset="2"/>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CC0000"/>
        </a:buClr>
        <a:buChar char="•"/>
        <a:defRPr sz="2400">
          <a:solidFill>
            <a:schemeClr val="tx1"/>
          </a:solidFill>
          <a:latin typeface="+mn-lt"/>
        </a:defRPr>
      </a:lvl2pPr>
      <a:lvl3pPr marL="1143000" indent="-228600" algn="l" rtl="0" eaLnBrk="0" fontAlgn="base" hangingPunct="0">
        <a:spcBef>
          <a:spcPct val="20000"/>
        </a:spcBef>
        <a:spcAft>
          <a:spcPct val="0"/>
        </a:spcAft>
        <a:buClr>
          <a:srgbClr val="CC0000"/>
        </a:buClr>
        <a:buChar char="-"/>
        <a:defRPr sz="2000">
          <a:solidFill>
            <a:schemeClr val="tx1"/>
          </a:solidFill>
          <a:latin typeface="+mn-lt"/>
        </a:defRPr>
      </a:lvl3pPr>
      <a:lvl4pPr marL="1600200" indent="-228600" algn="l" rtl="0" eaLnBrk="0" fontAlgn="base" hangingPunct="0">
        <a:spcBef>
          <a:spcPct val="20000"/>
        </a:spcBef>
        <a:spcAft>
          <a:spcPct val="0"/>
        </a:spcAft>
        <a:buClr>
          <a:srgbClr val="060B70"/>
        </a:buClr>
        <a:buFont typeface="Arial" panose="020B0604020202020204" pitchFamily="34" charset="0"/>
        <a:buChar char="–"/>
        <a:defRPr sz="2000">
          <a:solidFill>
            <a:schemeClr val="tx1"/>
          </a:solidFill>
          <a:latin typeface="+mn-lt"/>
        </a:defRPr>
      </a:lvl4pPr>
      <a:lvl5pPr marL="2057400" indent="-228600" algn="l" rtl="0" eaLnBrk="0" fontAlgn="base" hangingPunct="0">
        <a:spcBef>
          <a:spcPct val="20000"/>
        </a:spcBef>
        <a:spcAft>
          <a:spcPct val="0"/>
        </a:spcAft>
        <a:buClr>
          <a:srgbClr val="060B70"/>
        </a:buClr>
        <a:buFont typeface="Arial" panose="020B0604020202020204" pitchFamily="34" charset="0"/>
        <a:buChar char="»"/>
        <a:defRPr sz="2000">
          <a:solidFill>
            <a:schemeClr val="tx1"/>
          </a:solidFill>
          <a:latin typeface="+mn-lt"/>
        </a:defRPr>
      </a:lvl5pPr>
      <a:lvl6pPr marL="2514600" indent="-228600" algn="l" rtl="0" fontAlgn="base">
        <a:spcBef>
          <a:spcPct val="20000"/>
        </a:spcBef>
        <a:spcAft>
          <a:spcPct val="0"/>
        </a:spcAft>
        <a:buClr>
          <a:srgbClr val="060B70"/>
        </a:buClr>
        <a:buFont typeface="Arial" charset="0"/>
        <a:buChar char="»"/>
        <a:defRPr sz="2000">
          <a:solidFill>
            <a:schemeClr val="tx1"/>
          </a:solidFill>
          <a:latin typeface="+mn-lt"/>
        </a:defRPr>
      </a:lvl6pPr>
      <a:lvl7pPr marL="2971800" indent="-228600" algn="l" rtl="0" fontAlgn="base">
        <a:spcBef>
          <a:spcPct val="20000"/>
        </a:spcBef>
        <a:spcAft>
          <a:spcPct val="0"/>
        </a:spcAft>
        <a:buClr>
          <a:srgbClr val="060B70"/>
        </a:buClr>
        <a:buFont typeface="Arial" charset="0"/>
        <a:buChar char="»"/>
        <a:defRPr sz="2000">
          <a:solidFill>
            <a:schemeClr val="tx1"/>
          </a:solidFill>
          <a:latin typeface="+mn-lt"/>
        </a:defRPr>
      </a:lvl7pPr>
      <a:lvl8pPr marL="3429000" indent="-228600" algn="l" rtl="0" fontAlgn="base">
        <a:spcBef>
          <a:spcPct val="20000"/>
        </a:spcBef>
        <a:spcAft>
          <a:spcPct val="0"/>
        </a:spcAft>
        <a:buClr>
          <a:srgbClr val="060B70"/>
        </a:buClr>
        <a:buFont typeface="Arial" charset="0"/>
        <a:buChar char="»"/>
        <a:defRPr sz="2000">
          <a:solidFill>
            <a:schemeClr val="tx1"/>
          </a:solidFill>
          <a:latin typeface="+mn-lt"/>
        </a:defRPr>
      </a:lvl8pPr>
      <a:lvl9pPr marL="3886200" indent="-228600" algn="l" rtl="0" fontAlgn="base">
        <a:spcBef>
          <a:spcPct val="20000"/>
        </a:spcBef>
        <a:spcAft>
          <a:spcPct val="0"/>
        </a:spcAft>
        <a:buClr>
          <a:srgbClr val="060B70"/>
        </a:buClr>
        <a:buFont typeface="Arial"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90E1C2-45A6-4F5B-B5E9-581265C9DD24}"/>
              </a:ext>
            </a:extLst>
          </p:cNvPr>
          <p:cNvGraphicFramePr>
            <a:graphicFrameLocks noChangeAspect="1"/>
          </p:cNvGraphicFramePr>
          <p:nvPr userDrawn="1">
            <p:custDataLst>
              <p:tags r:id="rId3"/>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A90E1C2-45A6-4F5B-B5E9-581265C9DD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Placeholder 1"/>
          <p:cNvSpPr>
            <a:spLocks noGrp="1"/>
          </p:cNvSpPr>
          <p:nvPr>
            <p:ph type="title"/>
          </p:nvPr>
        </p:nvSpPr>
        <p:spPr>
          <a:xfrm>
            <a:off x="301917" y="366713"/>
            <a:ext cx="8540166" cy="6873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01917" y="1431925"/>
            <a:ext cx="8540166" cy="466407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505825" y="6356351"/>
            <a:ext cx="336258" cy="365125"/>
          </a:xfrm>
          <a:prstGeom prst="rect">
            <a:avLst/>
          </a:prstGeom>
        </p:spPr>
        <p:txBody>
          <a:bodyPr vert="horz" lIns="91440" tIns="45720" rIns="91440" bIns="45720" rtlCol="0" anchor="ctr"/>
          <a:lstStyle>
            <a:lvl1pPr algn="r">
              <a:defRPr sz="900">
                <a:solidFill>
                  <a:schemeClr val="tx1"/>
                </a:solidFill>
              </a:defRPr>
            </a:lvl1pPr>
          </a:lstStyle>
          <a:p>
            <a:fld id="{315844CB-BBB2-4CDC-A068-40F042A852AE}" type="slidenum">
              <a:rPr lang="en-CA" smtClean="0"/>
              <a:pPr/>
              <a:t>‹#›</a:t>
            </a:fld>
            <a:endParaRPr lang="en-CA" dirty="0"/>
          </a:p>
        </p:txBody>
      </p:sp>
      <p:pic>
        <p:nvPicPr>
          <p:cNvPr id="10" name="Picture 9">
            <a:extLst>
              <a:ext uri="{FF2B5EF4-FFF2-40B4-BE49-F238E27FC236}">
                <a16:creationId xmlns:a16="http://schemas.microsoft.com/office/drawing/2014/main" id="{5A9900CE-6341-461E-921A-C4DE5DD1CC1D}"/>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301917" y="6403654"/>
            <a:ext cx="2592288" cy="270519"/>
          </a:xfrm>
          <a:prstGeom prst="rect">
            <a:avLst/>
          </a:prstGeom>
        </p:spPr>
      </p:pic>
    </p:spTree>
    <p:extLst>
      <p:ext uri="{BB962C8B-B14F-4D97-AF65-F5344CB8AC3E}">
        <p14:creationId xmlns:p14="http://schemas.microsoft.com/office/powerpoint/2010/main" val="2634445035"/>
      </p:ext>
    </p:extLst>
  </p:cSld>
  <p:clrMap bg1="lt1" tx1="dk1" bg2="lt2" tx2="dk2" accent1="accent1" accent2="accent2" accent3="accent3" accent4="accent4" accent5="accent5" accent6="accent6" hlink="hlink" folHlink="folHlink"/>
  <p:sldLayoutIdLst>
    <p:sldLayoutId id="2147483715" r:id="rId1"/>
  </p:sldLayoutIdLst>
  <p:hf hdr="0" ft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600"/>
        </a:spcAft>
        <a:buClr>
          <a:schemeClr val="tx2"/>
        </a:buClr>
        <a:buFontTx/>
        <a:buChar char="‒"/>
        <a:defRPr sz="18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600"/>
        </a:spcAft>
        <a:buClr>
          <a:schemeClr val="tx2"/>
        </a:buClr>
        <a:buSzPct val="80000"/>
        <a:buFont typeface="Wingdings" panose="05000000000000000000" pitchFamily="2" charset="2"/>
        <a:buChar char="§"/>
        <a:defRPr sz="18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1839B422-A0CD-4051-81DF-68889C83954C}"/>
              </a:ext>
            </a:extLst>
          </p:cNvPr>
          <p:cNvSpPr>
            <a:spLocks noGrp="1" noChangeArrowheads="1"/>
          </p:cNvSpPr>
          <p:nvPr>
            <p:ph type="title"/>
          </p:nvPr>
        </p:nvSpPr>
        <p:spPr bwMode="auto">
          <a:xfrm>
            <a:off x="457200" y="550863"/>
            <a:ext cx="8229600"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en-US"/>
              <a:t>ISE 608 (LS) </a:t>
            </a:r>
          </a:p>
        </p:txBody>
      </p:sp>
      <p:sp>
        <p:nvSpPr>
          <p:cNvPr id="1027" name="Rectangle 3">
            <a:extLst>
              <a:ext uri="{FF2B5EF4-FFF2-40B4-BE49-F238E27FC236}">
                <a16:creationId xmlns:a16="http://schemas.microsoft.com/office/drawing/2014/main" id="{058FCC34-0209-4F71-BACE-DBD7730E41EF}"/>
              </a:ext>
            </a:extLst>
          </p:cNvPr>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p:txBody>
      </p:sp>
      <p:sp>
        <p:nvSpPr>
          <p:cNvPr id="984068" name="Rectangle 4">
            <a:extLst>
              <a:ext uri="{FF2B5EF4-FFF2-40B4-BE49-F238E27FC236}">
                <a16:creationId xmlns:a16="http://schemas.microsoft.com/office/drawing/2014/main" id="{5400E5A5-A3B9-4A30-B288-8DC0BE4A5DE3}"/>
              </a:ext>
            </a:extLst>
          </p:cNvPr>
          <p:cNvSpPr>
            <a:spLocks noGrp="1" noChangeArrowheads="1"/>
          </p:cNvSpPr>
          <p:nvPr>
            <p:ph type="dt" sz="half" idx="2"/>
          </p:nvPr>
        </p:nvSpPr>
        <p:spPr bwMode="auto">
          <a:xfrm>
            <a:off x="457200" y="6502400"/>
            <a:ext cx="3038475" cy="2190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lvl1pPr>
          </a:lstStyle>
          <a:p>
            <a:r>
              <a:rPr lang="de-DE" altLang="en-US"/>
              <a:t> - </a:t>
            </a:r>
            <a:fld id="{97AF3032-9F75-4217-AD48-566825895078}" type="datetime1">
              <a:rPr lang="de-DE" altLang="en-US"/>
              <a:pPr/>
              <a:t>11.06.2023</a:t>
            </a:fld>
            <a:r>
              <a:rPr lang="de-DE" altLang="en-US"/>
              <a:t> - </a:t>
            </a:r>
            <a:fld id="{F4CB0F29-562D-4F8F-B0CB-B3D2FE9D2019}" type="slidenum">
              <a:rPr lang="de-DE" altLang="en-US"/>
              <a:pPr/>
              <a:t>‹#›</a:t>
            </a:fld>
            <a:endParaRPr lang="de-DE" altLang="en-US"/>
          </a:p>
          <a:p>
            <a:endParaRPr lang="de-DE" altLang="en-US"/>
          </a:p>
        </p:txBody>
      </p:sp>
      <p:sp>
        <p:nvSpPr>
          <p:cNvPr id="984075" name="Line 11">
            <a:extLst>
              <a:ext uri="{FF2B5EF4-FFF2-40B4-BE49-F238E27FC236}">
                <a16:creationId xmlns:a16="http://schemas.microsoft.com/office/drawing/2014/main" id="{E5EBA21A-9C3B-4B28-9A36-3FE82A98310A}"/>
              </a:ext>
            </a:extLst>
          </p:cNvPr>
          <p:cNvSpPr>
            <a:spLocks noChangeShapeType="1"/>
          </p:cNvSpPr>
          <p:nvPr/>
        </p:nvSpPr>
        <p:spPr bwMode="auto">
          <a:xfrm>
            <a:off x="457200" y="1314450"/>
            <a:ext cx="8229600" cy="0"/>
          </a:xfrm>
          <a:prstGeom prst="line">
            <a:avLst/>
          </a:prstGeom>
          <a:noFill/>
          <a:ln w="19050">
            <a:solidFill>
              <a:srgbClr val="CC0000"/>
            </a:solidFill>
            <a:round/>
            <a:headEnd/>
            <a:tailEnd/>
          </a:ln>
          <a:effectLst/>
        </p:spPr>
        <p:txBody>
          <a:bodyPr/>
          <a:lstStyle/>
          <a:p>
            <a:pPr>
              <a:defRPr/>
            </a:pPr>
            <a:endParaRPr lang="en-US">
              <a:latin typeface="Arial" charset="0"/>
            </a:endParaRPr>
          </a:p>
        </p:txBody>
      </p:sp>
      <p:sp>
        <p:nvSpPr>
          <p:cNvPr id="984077" name="Line 13">
            <a:extLst>
              <a:ext uri="{FF2B5EF4-FFF2-40B4-BE49-F238E27FC236}">
                <a16:creationId xmlns:a16="http://schemas.microsoft.com/office/drawing/2014/main" id="{C49F3AB7-614A-4371-BE94-34F85CD1A204}"/>
              </a:ext>
            </a:extLst>
          </p:cNvPr>
          <p:cNvSpPr>
            <a:spLocks noChangeShapeType="1"/>
          </p:cNvSpPr>
          <p:nvPr/>
        </p:nvSpPr>
        <p:spPr bwMode="auto">
          <a:xfrm>
            <a:off x="454025" y="6388100"/>
            <a:ext cx="8229600" cy="0"/>
          </a:xfrm>
          <a:prstGeom prst="line">
            <a:avLst/>
          </a:prstGeom>
          <a:noFill/>
          <a:ln w="19050">
            <a:solidFill>
              <a:srgbClr val="CC0000"/>
            </a:solidFill>
            <a:round/>
            <a:headEnd/>
            <a:tailEnd/>
          </a:ln>
          <a:effectLst/>
        </p:spPr>
        <p:txBody>
          <a:bodyPr/>
          <a:lstStyle/>
          <a:p>
            <a:pPr>
              <a:defRPr/>
            </a:pPr>
            <a:endParaRPr lang="en-US">
              <a:latin typeface="Arial" charset="0"/>
            </a:endParaRPr>
          </a:p>
        </p:txBody>
      </p:sp>
      <p:pic>
        <p:nvPicPr>
          <p:cNvPr id="1031" name="Picture 19" descr="Ohio State University logo">
            <a:hlinkClick r:id="rId3"/>
            <a:extLst>
              <a:ext uri="{FF2B5EF4-FFF2-40B4-BE49-F238E27FC236}">
                <a16:creationId xmlns:a16="http://schemas.microsoft.com/office/drawing/2014/main" id="{9EE113DF-3FBA-472F-B0ED-608917E3D3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94638" y="593725"/>
            <a:ext cx="70485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0" r:id="rId1"/>
  </p:sldLayoutIdLst>
  <p:hf sldNum="0" hdr="0" ftr="0"/>
  <p:txStyles>
    <p:title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7200" algn="l" rtl="0" fontAlgn="base">
        <a:spcBef>
          <a:spcPct val="0"/>
        </a:spcBef>
        <a:spcAft>
          <a:spcPct val="0"/>
        </a:spcAft>
        <a:defRPr sz="3200" b="1">
          <a:solidFill>
            <a:schemeClr val="tx2"/>
          </a:solidFill>
          <a:latin typeface="Arial" charset="0"/>
        </a:defRPr>
      </a:lvl6pPr>
      <a:lvl7pPr marL="914400" algn="l" rtl="0" fontAlgn="base">
        <a:spcBef>
          <a:spcPct val="0"/>
        </a:spcBef>
        <a:spcAft>
          <a:spcPct val="0"/>
        </a:spcAft>
        <a:defRPr sz="3200" b="1">
          <a:solidFill>
            <a:schemeClr val="tx2"/>
          </a:solidFill>
          <a:latin typeface="Arial" charset="0"/>
        </a:defRPr>
      </a:lvl7pPr>
      <a:lvl8pPr marL="1371600" algn="l" rtl="0" fontAlgn="base">
        <a:spcBef>
          <a:spcPct val="0"/>
        </a:spcBef>
        <a:spcAft>
          <a:spcPct val="0"/>
        </a:spcAft>
        <a:defRPr sz="3200" b="1">
          <a:solidFill>
            <a:schemeClr val="tx2"/>
          </a:solidFill>
          <a:latin typeface="Arial" charset="0"/>
        </a:defRPr>
      </a:lvl8pPr>
      <a:lvl9pPr marL="1828800" algn="l" rtl="0" fontAlgn="base">
        <a:spcBef>
          <a:spcPct val="0"/>
        </a:spcBef>
        <a:spcAft>
          <a:spcPct val="0"/>
        </a:spcAft>
        <a:defRPr sz="3200" b="1">
          <a:solidFill>
            <a:schemeClr val="tx2"/>
          </a:solidFill>
          <a:latin typeface="Arial" charset="0"/>
        </a:defRPr>
      </a:lvl9pPr>
    </p:titleStyle>
    <p:bodyStyle>
      <a:lvl1pPr marL="342900" indent="-342900" algn="l" rtl="0" eaLnBrk="0" fontAlgn="base" hangingPunct="0">
        <a:spcBef>
          <a:spcPct val="20000"/>
        </a:spcBef>
        <a:spcAft>
          <a:spcPct val="0"/>
        </a:spcAft>
        <a:buClr>
          <a:srgbClr val="CC0000"/>
        </a:buClr>
        <a:buFont typeface="Wingdings" panose="05000000000000000000" pitchFamily="2" charset="2"/>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CC0000"/>
        </a:buClr>
        <a:buChar char="•"/>
        <a:defRPr sz="2400">
          <a:solidFill>
            <a:schemeClr val="tx1"/>
          </a:solidFill>
          <a:latin typeface="+mn-lt"/>
        </a:defRPr>
      </a:lvl2pPr>
      <a:lvl3pPr marL="1143000" indent="-228600" algn="l" rtl="0" eaLnBrk="0" fontAlgn="base" hangingPunct="0">
        <a:spcBef>
          <a:spcPct val="20000"/>
        </a:spcBef>
        <a:spcAft>
          <a:spcPct val="0"/>
        </a:spcAft>
        <a:buClr>
          <a:srgbClr val="CC0000"/>
        </a:buClr>
        <a:buChar char="-"/>
        <a:defRPr sz="2000">
          <a:solidFill>
            <a:schemeClr val="tx1"/>
          </a:solidFill>
          <a:latin typeface="+mn-lt"/>
        </a:defRPr>
      </a:lvl3pPr>
      <a:lvl4pPr marL="1600200" indent="-228600" algn="l" rtl="0" eaLnBrk="0" fontAlgn="base" hangingPunct="0">
        <a:spcBef>
          <a:spcPct val="20000"/>
        </a:spcBef>
        <a:spcAft>
          <a:spcPct val="0"/>
        </a:spcAft>
        <a:buClr>
          <a:srgbClr val="060B70"/>
        </a:buClr>
        <a:buFont typeface="Arial" panose="020B0604020202020204" pitchFamily="34" charset="0"/>
        <a:buChar char="–"/>
        <a:defRPr sz="2000">
          <a:solidFill>
            <a:schemeClr val="tx1"/>
          </a:solidFill>
          <a:latin typeface="+mn-lt"/>
        </a:defRPr>
      </a:lvl4pPr>
      <a:lvl5pPr marL="2057400" indent="-228600" algn="l" rtl="0" eaLnBrk="0" fontAlgn="base" hangingPunct="0">
        <a:spcBef>
          <a:spcPct val="20000"/>
        </a:spcBef>
        <a:spcAft>
          <a:spcPct val="0"/>
        </a:spcAft>
        <a:buClr>
          <a:srgbClr val="060B70"/>
        </a:buClr>
        <a:buFont typeface="Arial" panose="020B0604020202020204" pitchFamily="34" charset="0"/>
        <a:buChar char="»"/>
        <a:defRPr sz="2000">
          <a:solidFill>
            <a:schemeClr val="tx1"/>
          </a:solidFill>
          <a:latin typeface="+mn-lt"/>
        </a:defRPr>
      </a:lvl5pPr>
      <a:lvl6pPr marL="2514600" indent="-228600" algn="l" rtl="0" fontAlgn="base">
        <a:spcBef>
          <a:spcPct val="20000"/>
        </a:spcBef>
        <a:spcAft>
          <a:spcPct val="0"/>
        </a:spcAft>
        <a:buClr>
          <a:srgbClr val="060B70"/>
        </a:buClr>
        <a:buFont typeface="Arial" charset="0"/>
        <a:buChar char="»"/>
        <a:defRPr sz="2000">
          <a:solidFill>
            <a:schemeClr val="tx1"/>
          </a:solidFill>
          <a:latin typeface="+mn-lt"/>
        </a:defRPr>
      </a:lvl6pPr>
      <a:lvl7pPr marL="2971800" indent="-228600" algn="l" rtl="0" fontAlgn="base">
        <a:spcBef>
          <a:spcPct val="20000"/>
        </a:spcBef>
        <a:spcAft>
          <a:spcPct val="0"/>
        </a:spcAft>
        <a:buClr>
          <a:srgbClr val="060B70"/>
        </a:buClr>
        <a:buFont typeface="Arial" charset="0"/>
        <a:buChar char="»"/>
        <a:defRPr sz="2000">
          <a:solidFill>
            <a:schemeClr val="tx1"/>
          </a:solidFill>
          <a:latin typeface="+mn-lt"/>
        </a:defRPr>
      </a:lvl7pPr>
      <a:lvl8pPr marL="3429000" indent="-228600" algn="l" rtl="0" fontAlgn="base">
        <a:spcBef>
          <a:spcPct val="20000"/>
        </a:spcBef>
        <a:spcAft>
          <a:spcPct val="0"/>
        </a:spcAft>
        <a:buClr>
          <a:srgbClr val="060B70"/>
        </a:buClr>
        <a:buFont typeface="Arial" charset="0"/>
        <a:buChar char="»"/>
        <a:defRPr sz="2000">
          <a:solidFill>
            <a:schemeClr val="tx1"/>
          </a:solidFill>
          <a:latin typeface="+mn-lt"/>
        </a:defRPr>
      </a:lvl8pPr>
      <a:lvl9pPr marL="3886200" indent="-228600" algn="l" rtl="0" fontAlgn="base">
        <a:spcBef>
          <a:spcPct val="20000"/>
        </a:spcBef>
        <a:spcAft>
          <a:spcPct val="0"/>
        </a:spcAft>
        <a:buClr>
          <a:srgbClr val="060B70"/>
        </a:buClr>
        <a:buFont typeface="Arial"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71CE0A-7334-4623-AC89-0010A0C16E69}"/>
              </a:ext>
            </a:extLst>
          </p:cNvPr>
          <p:cNvSpPr>
            <a:spLocks noGrp="1"/>
          </p:cNvSpPr>
          <p:nvPr>
            <p:ph type="title"/>
          </p:nvPr>
        </p:nvSpPr>
        <p:spPr>
          <a:xfrm>
            <a:off x="181724" y="-230778"/>
            <a:ext cx="7886700" cy="1325563"/>
          </a:xfrm>
          <a:prstGeom prst="rect">
            <a:avLst/>
          </a:prstGeom>
        </p:spPr>
        <p:txBody>
          <a:bodyPr vert="horz" lIns="91440" tIns="45720" rIns="91440" bIns="45720" rtlCol="0" anchor="ctr">
            <a:normAutofit/>
          </a:bodyPr>
          <a:lstStyle/>
          <a:p>
            <a:r>
              <a:rPr lang="en-US" dirty="0"/>
              <a:t>Click to edit Master title style</a:t>
            </a:r>
            <a:endParaRPr lang="en-CA" dirty="0"/>
          </a:p>
        </p:txBody>
      </p:sp>
      <p:sp>
        <p:nvSpPr>
          <p:cNvPr id="3" name="Text Placeholder 2">
            <a:extLst>
              <a:ext uri="{FF2B5EF4-FFF2-40B4-BE49-F238E27FC236}">
                <a16:creationId xmlns:a16="http://schemas.microsoft.com/office/drawing/2014/main" id="{E99EEFF5-3264-4FD5-9F76-C6AC9D147CF4}"/>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a:extLst>
              <a:ext uri="{FF2B5EF4-FFF2-40B4-BE49-F238E27FC236}">
                <a16:creationId xmlns:a16="http://schemas.microsoft.com/office/drawing/2014/main" id="{8880BB22-AF52-4EE0-A4A1-4971AE6ECAA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1EA416A6-8BEE-4A3F-808B-0904628D6F34}" type="datetime1">
              <a:rPr lang="en-CA" smtClean="0"/>
              <a:t>2023-06-11</a:t>
            </a:fld>
            <a:endParaRPr lang="en-CA"/>
          </a:p>
        </p:txBody>
      </p:sp>
      <p:sp>
        <p:nvSpPr>
          <p:cNvPr id="5" name="Footer Placeholder 4">
            <a:extLst>
              <a:ext uri="{FF2B5EF4-FFF2-40B4-BE49-F238E27FC236}">
                <a16:creationId xmlns:a16="http://schemas.microsoft.com/office/drawing/2014/main" id="{7BF4A932-B66A-4731-8BD9-E41A50F4528F}"/>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C748CE3D-54FB-4440-9BD6-A5F6761D7774}"/>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1F560D5-53A7-4969-B8DF-E1F637D39903}" type="slidenum">
              <a:rPr lang="en-CA" smtClean="0"/>
              <a:t>‹#›</a:t>
            </a:fld>
            <a:endParaRPr lang="en-CA"/>
          </a:p>
        </p:txBody>
      </p:sp>
      <p:pic>
        <p:nvPicPr>
          <p:cNvPr id="7" name="Picture 6">
            <a:extLst>
              <a:ext uri="{FF2B5EF4-FFF2-40B4-BE49-F238E27FC236}">
                <a16:creationId xmlns:a16="http://schemas.microsoft.com/office/drawing/2014/main" id="{54879D7B-BA71-47A1-BD70-7BCCBC3C25F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2353" y="6543006"/>
            <a:ext cx="2483698" cy="219553"/>
          </a:xfrm>
          <a:prstGeom prst="rect">
            <a:avLst/>
          </a:prstGeom>
        </p:spPr>
      </p:pic>
      <p:pic>
        <p:nvPicPr>
          <p:cNvPr id="9" name="Picture 8" descr="Graphical user interface, text&#10;&#10;Description automatically generated with medium confidence">
            <a:extLst>
              <a:ext uri="{FF2B5EF4-FFF2-40B4-BE49-F238E27FC236}">
                <a16:creationId xmlns:a16="http://schemas.microsoft.com/office/drawing/2014/main" id="{1BFE8595-AE64-4268-9792-823E44AD83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42783" y="6098230"/>
            <a:ext cx="1601218" cy="759771"/>
          </a:xfrm>
          <a:prstGeom prst="rect">
            <a:avLst/>
          </a:prstGeom>
        </p:spPr>
      </p:pic>
    </p:spTree>
    <p:extLst>
      <p:ext uri="{BB962C8B-B14F-4D97-AF65-F5344CB8AC3E}">
        <p14:creationId xmlns:p14="http://schemas.microsoft.com/office/powerpoint/2010/main" val="109284353"/>
      </p:ext>
    </p:extLst>
  </p:cSld>
  <p:clrMap bg1="lt1" tx1="dk1" bg2="lt2" tx2="dk2" accent1="accent1" accent2="accent2" accent3="accent3" accent4="accent4" accent5="accent5" accent6="accent6" hlink="hlink" folHlink="folHlink"/>
  <p:sldLayoutIdLst>
    <p:sldLayoutId id="2147483650" r:id="rId1"/>
    <p:sldLayoutId id="2147483655" r:id="rId2"/>
  </p:sldLayoutIdLst>
  <p:hf hdr="0" ftr="0" dt="0"/>
  <p:txStyles>
    <p:titleStyle>
      <a:lvl1pPr algn="l" defTabSz="914400" rtl="0" eaLnBrk="1" latinLnBrk="0" hangingPunct="1">
        <a:lnSpc>
          <a:spcPct val="90000"/>
        </a:lnSpc>
        <a:spcBef>
          <a:spcPct val="0"/>
        </a:spcBef>
        <a:buNone/>
        <a:defRPr sz="3200" kern="1200">
          <a:solidFill>
            <a:srgbClr val="2A83B4"/>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Open Sans" panose="020B0606030504020204"/>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158"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dt" idx="10"/>
          </p:nvPr>
        </p:nvSpPr>
        <p:spPr>
          <a:xfrm>
            <a:off x="5736168" y="6231468"/>
            <a:ext cx="2637687" cy="365100"/>
          </a:xfrm>
          <a:prstGeom prst="rect">
            <a:avLst/>
          </a:prstGeom>
          <a:noFill/>
          <a:ln>
            <a:noFill/>
          </a:ln>
        </p:spPr>
        <p:txBody>
          <a:bodyPr spcFirstLastPara="1" wrap="square" lIns="91425" tIns="91425" rIns="91425" bIns="91425" anchor="ctr" anchorCtr="0">
            <a:noAutofit/>
          </a:bodyPr>
          <a:lstStyle>
            <a:lvl1pPr marR="0" lvl="0" algn="r" rtl="0">
              <a:spcBef>
                <a:spcPts val="0"/>
              </a:spcBef>
              <a:spcAft>
                <a:spcPts val="0"/>
              </a:spcAft>
              <a:buSzPts val="1400"/>
              <a:buNone/>
              <a:defRPr sz="1050" i="0" u="none" strike="noStrike" cap="none">
                <a:solidFill>
                  <a:schemeClr val="dk1"/>
                </a:solidFill>
              </a:defRPr>
            </a:lvl1pPr>
            <a:lvl2pPr marR="0" lvl="1" algn="l" rtl="0">
              <a:spcBef>
                <a:spcPts val="0"/>
              </a:spcBef>
              <a:spcAft>
                <a:spcPts val="0"/>
              </a:spcAft>
              <a:buSzPts val="1400"/>
              <a:buNone/>
              <a:defRPr sz="1350" i="0" u="none" strike="noStrike" cap="none">
                <a:solidFill>
                  <a:schemeClr val="dk1"/>
                </a:solidFill>
              </a:defRPr>
            </a:lvl2pPr>
            <a:lvl3pPr marR="0" lvl="2" algn="l" rtl="0">
              <a:spcBef>
                <a:spcPts val="0"/>
              </a:spcBef>
              <a:spcAft>
                <a:spcPts val="0"/>
              </a:spcAft>
              <a:buSzPts val="1400"/>
              <a:buNone/>
              <a:defRPr sz="1350" i="0" u="none" strike="noStrike" cap="none">
                <a:solidFill>
                  <a:schemeClr val="dk1"/>
                </a:solidFill>
              </a:defRPr>
            </a:lvl3pPr>
            <a:lvl4pPr marR="0" lvl="3" algn="l" rtl="0">
              <a:spcBef>
                <a:spcPts val="0"/>
              </a:spcBef>
              <a:spcAft>
                <a:spcPts val="0"/>
              </a:spcAft>
              <a:buSzPts val="1400"/>
              <a:buNone/>
              <a:defRPr sz="1350" i="0" u="none" strike="noStrike" cap="none">
                <a:solidFill>
                  <a:schemeClr val="dk1"/>
                </a:solidFill>
              </a:defRPr>
            </a:lvl4pPr>
            <a:lvl5pPr marR="0" lvl="4" algn="l" rtl="0">
              <a:spcBef>
                <a:spcPts val="0"/>
              </a:spcBef>
              <a:spcAft>
                <a:spcPts val="0"/>
              </a:spcAft>
              <a:buSzPts val="1400"/>
              <a:buNone/>
              <a:defRPr sz="1350" i="0" u="none" strike="noStrike" cap="none">
                <a:solidFill>
                  <a:schemeClr val="dk1"/>
                </a:solidFill>
              </a:defRPr>
            </a:lvl5pPr>
            <a:lvl6pPr marR="0" lvl="5" algn="l" rtl="0">
              <a:spcBef>
                <a:spcPts val="0"/>
              </a:spcBef>
              <a:spcAft>
                <a:spcPts val="0"/>
              </a:spcAft>
              <a:buSzPts val="1400"/>
              <a:buNone/>
              <a:defRPr sz="1350" i="0" u="none" strike="noStrike" cap="none">
                <a:solidFill>
                  <a:schemeClr val="dk1"/>
                </a:solidFill>
              </a:defRPr>
            </a:lvl6pPr>
            <a:lvl7pPr marR="0" lvl="6" algn="l" rtl="0">
              <a:spcBef>
                <a:spcPts val="0"/>
              </a:spcBef>
              <a:spcAft>
                <a:spcPts val="0"/>
              </a:spcAft>
              <a:buSzPts val="1400"/>
              <a:buNone/>
              <a:defRPr sz="1350" i="0" u="none" strike="noStrike" cap="none">
                <a:solidFill>
                  <a:schemeClr val="dk1"/>
                </a:solidFill>
              </a:defRPr>
            </a:lvl7pPr>
            <a:lvl8pPr marR="0" lvl="7" algn="l" rtl="0">
              <a:spcBef>
                <a:spcPts val="0"/>
              </a:spcBef>
              <a:spcAft>
                <a:spcPts val="0"/>
              </a:spcAft>
              <a:buSzPts val="1400"/>
              <a:buNone/>
              <a:defRPr sz="1350" i="0" u="none" strike="noStrike" cap="none">
                <a:solidFill>
                  <a:schemeClr val="dk1"/>
                </a:solidFill>
              </a:defRPr>
            </a:lvl8pPr>
            <a:lvl9pPr marR="0" lvl="8" algn="l" rtl="0">
              <a:spcBef>
                <a:spcPts val="0"/>
              </a:spcBef>
              <a:spcAft>
                <a:spcPts val="0"/>
              </a:spcAft>
              <a:buSzPts val="1400"/>
              <a:buNone/>
              <a:defRPr sz="1350" i="0" u="none" strike="noStrike" cap="none">
                <a:solidFill>
                  <a:schemeClr val="dk1"/>
                </a:solidFill>
              </a:defRPr>
            </a:lvl9pPr>
          </a:lstStyle>
          <a:p>
            <a:endParaRPr/>
          </a:p>
        </p:txBody>
      </p:sp>
      <p:sp>
        <p:nvSpPr>
          <p:cNvPr id="11" name="Google Shape;11;p1"/>
          <p:cNvSpPr txBox="1">
            <a:spLocks noGrp="1"/>
          </p:cNvSpPr>
          <p:nvPr>
            <p:ph type="sldNum" idx="12"/>
          </p:nvPr>
        </p:nvSpPr>
        <p:spPr>
          <a:xfrm>
            <a:off x="8373883" y="6231468"/>
            <a:ext cx="330386" cy="3651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050" i="0" u="none" strike="noStrike" cap="none">
                <a:solidFill>
                  <a:schemeClr val="dk1"/>
                </a:solidFill>
              </a:defRPr>
            </a:lvl1pPr>
            <a:lvl2pPr marL="0" marR="0" lvl="1" indent="0" algn="r" rtl="0">
              <a:spcBef>
                <a:spcPts val="0"/>
              </a:spcBef>
              <a:buNone/>
              <a:defRPr sz="1050" i="0" u="none" strike="noStrike" cap="none">
                <a:solidFill>
                  <a:schemeClr val="dk1"/>
                </a:solidFill>
              </a:defRPr>
            </a:lvl2pPr>
            <a:lvl3pPr marL="0" marR="0" lvl="2" indent="0" algn="r" rtl="0">
              <a:spcBef>
                <a:spcPts val="0"/>
              </a:spcBef>
              <a:buNone/>
              <a:defRPr sz="1050" i="0" u="none" strike="noStrike" cap="none">
                <a:solidFill>
                  <a:schemeClr val="dk1"/>
                </a:solidFill>
              </a:defRPr>
            </a:lvl3pPr>
            <a:lvl4pPr marL="0" marR="0" lvl="3" indent="0" algn="r" rtl="0">
              <a:spcBef>
                <a:spcPts val="0"/>
              </a:spcBef>
              <a:buNone/>
              <a:defRPr sz="1050" i="0" u="none" strike="noStrike" cap="none">
                <a:solidFill>
                  <a:schemeClr val="dk1"/>
                </a:solidFill>
              </a:defRPr>
            </a:lvl4pPr>
            <a:lvl5pPr marL="0" marR="0" lvl="4" indent="0" algn="r" rtl="0">
              <a:spcBef>
                <a:spcPts val="0"/>
              </a:spcBef>
              <a:buNone/>
              <a:defRPr sz="1050" i="0" u="none" strike="noStrike" cap="none">
                <a:solidFill>
                  <a:schemeClr val="dk1"/>
                </a:solidFill>
              </a:defRPr>
            </a:lvl5pPr>
            <a:lvl6pPr marL="0" marR="0" lvl="5" indent="0" algn="r" rtl="0">
              <a:spcBef>
                <a:spcPts val="0"/>
              </a:spcBef>
              <a:buNone/>
              <a:defRPr sz="1050" i="0" u="none" strike="noStrike" cap="none">
                <a:solidFill>
                  <a:schemeClr val="dk1"/>
                </a:solidFill>
              </a:defRPr>
            </a:lvl6pPr>
            <a:lvl7pPr marL="0" marR="0" lvl="6" indent="0" algn="r" rtl="0">
              <a:spcBef>
                <a:spcPts val="0"/>
              </a:spcBef>
              <a:buNone/>
              <a:defRPr sz="1050" i="0" u="none" strike="noStrike" cap="none">
                <a:solidFill>
                  <a:schemeClr val="dk1"/>
                </a:solidFill>
              </a:defRPr>
            </a:lvl7pPr>
            <a:lvl8pPr marL="0" marR="0" lvl="7" indent="0" algn="r" rtl="0">
              <a:spcBef>
                <a:spcPts val="0"/>
              </a:spcBef>
              <a:buNone/>
              <a:defRPr sz="1050" i="0" u="none" strike="noStrike" cap="none">
                <a:solidFill>
                  <a:schemeClr val="dk1"/>
                </a:solidFill>
              </a:defRPr>
            </a:lvl8pPr>
            <a:lvl9pPr marL="0" marR="0" lvl="8" indent="0" algn="r" rtl="0">
              <a:spcBef>
                <a:spcPts val="0"/>
              </a:spcBef>
              <a:buNone/>
              <a:defRPr sz="1050" i="0" u="none" strike="noStrike" cap="none">
                <a:solidFill>
                  <a:schemeClr val="dk1"/>
                </a:solidFill>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sp>
        <p:nvSpPr>
          <p:cNvPr id="12" name="Google Shape;12;p1"/>
          <p:cNvSpPr txBox="1">
            <a:spLocks noGrp="1"/>
          </p:cNvSpPr>
          <p:nvPr>
            <p:ph type="title"/>
          </p:nvPr>
        </p:nvSpPr>
        <p:spPr>
          <a:xfrm>
            <a:off x="194073" y="392415"/>
            <a:ext cx="8444874" cy="1069800"/>
          </a:xfrm>
          <a:prstGeom prst="rect">
            <a:avLst/>
          </a:prstGeom>
          <a:noFill/>
          <a:ln>
            <a:noFill/>
          </a:ln>
        </p:spPr>
        <p:txBody>
          <a:bodyPr spcFirstLastPara="1" wrap="square" lIns="91425" tIns="91425" rIns="91425" bIns="91425" anchor="t" anchorCtr="0">
            <a:noAutofit/>
          </a:bodyPr>
          <a:lstStyle>
            <a:lvl1pPr marR="0" lvl="0" algn="l" rtl="0">
              <a:lnSpc>
                <a:spcPct val="95000"/>
              </a:lnSpc>
              <a:spcBef>
                <a:spcPts val="0"/>
              </a:spcBef>
              <a:spcAft>
                <a:spcPts val="0"/>
              </a:spcAft>
              <a:buClr>
                <a:schemeClr val="dk2"/>
              </a:buClr>
              <a:buSzPts val="3600"/>
              <a:buFont typeface="Arial"/>
              <a:buNone/>
              <a:defRPr sz="3600" b="1" i="0" u="none" strike="noStrike" cap="none">
                <a:solidFill>
                  <a:schemeClr val="dk2"/>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13" name="Google Shape;13;p1"/>
          <p:cNvSpPr txBox="1">
            <a:spLocks noGrp="1"/>
          </p:cNvSpPr>
          <p:nvPr>
            <p:ph type="body" idx="1"/>
          </p:nvPr>
        </p:nvSpPr>
        <p:spPr>
          <a:xfrm>
            <a:off x="194073" y="1472184"/>
            <a:ext cx="8444874" cy="4212600"/>
          </a:xfrm>
          <a:prstGeom prst="rect">
            <a:avLst/>
          </a:prstGeom>
          <a:noFill/>
          <a:ln>
            <a:noFill/>
          </a:ln>
        </p:spPr>
        <p:txBody>
          <a:bodyPr spcFirstLastPara="1" wrap="square" lIns="91425" tIns="91425" rIns="91425" bIns="91425" anchor="t" anchorCtr="0">
            <a:noAutofit/>
          </a:bodyPr>
          <a:lstStyle>
            <a:lvl1pPr marL="457200" marR="0" lvl="0" indent="-387350" algn="l" rtl="0">
              <a:spcBef>
                <a:spcPts val="500"/>
              </a:spcBef>
              <a:spcAft>
                <a:spcPts val="0"/>
              </a:spcAft>
              <a:buClr>
                <a:schemeClr val="dk1"/>
              </a:buClr>
              <a:buSzPts val="2500"/>
              <a:buChar char="•"/>
              <a:defRPr sz="2500" i="0" u="none" strike="noStrike" cap="none">
                <a:solidFill>
                  <a:schemeClr val="dk1"/>
                </a:solidFill>
              </a:defRPr>
            </a:lvl1pPr>
            <a:lvl2pPr marL="914400" marR="0" lvl="1" indent="-361950" algn="l" rtl="0">
              <a:spcBef>
                <a:spcPts val="672"/>
              </a:spcBef>
              <a:spcAft>
                <a:spcPts val="0"/>
              </a:spcAft>
              <a:buClr>
                <a:schemeClr val="dk1"/>
              </a:buClr>
              <a:buSzPts val="2100"/>
              <a:buChar char="•"/>
              <a:defRPr sz="2100" i="0" u="none" strike="noStrike" cap="none">
                <a:solidFill>
                  <a:schemeClr val="dk1"/>
                </a:solidFill>
              </a:defRPr>
            </a:lvl2pPr>
            <a:lvl3pPr marL="1371600" marR="0" lvl="2" indent="-336550" algn="l" rtl="0">
              <a:lnSpc>
                <a:spcPct val="100000"/>
              </a:lnSpc>
              <a:spcBef>
                <a:spcPts val="576"/>
              </a:spcBef>
              <a:spcAft>
                <a:spcPts val="0"/>
              </a:spcAft>
              <a:buClr>
                <a:schemeClr val="dk1"/>
              </a:buClr>
              <a:buSzPts val="1700"/>
              <a:buChar char="•"/>
              <a:defRPr sz="1700" i="0" u="none" strike="noStrike" cap="none">
                <a:solidFill>
                  <a:schemeClr val="dk1"/>
                </a:solidFill>
              </a:defRPr>
            </a:lvl3pPr>
            <a:lvl4pPr marL="1828800" marR="0" lvl="3" indent="-323850" algn="l" rtl="0">
              <a:lnSpc>
                <a:spcPct val="100000"/>
              </a:lnSpc>
              <a:spcBef>
                <a:spcPts val="480"/>
              </a:spcBef>
              <a:spcAft>
                <a:spcPts val="0"/>
              </a:spcAft>
              <a:buClr>
                <a:schemeClr val="dk1"/>
              </a:buClr>
              <a:buSzPts val="1500"/>
              <a:buChar char="•"/>
              <a:defRPr sz="1500" i="0" u="none" strike="noStrike" cap="none">
                <a:solidFill>
                  <a:schemeClr val="dk1"/>
                </a:solidFill>
              </a:defRPr>
            </a:lvl4pPr>
            <a:lvl5pPr marL="2286000" marR="0" lvl="4" indent="-323850" algn="l" rtl="0">
              <a:lnSpc>
                <a:spcPct val="140000"/>
              </a:lnSpc>
              <a:spcBef>
                <a:spcPts val="0"/>
              </a:spcBef>
              <a:spcAft>
                <a:spcPts val="0"/>
              </a:spcAft>
              <a:buClr>
                <a:schemeClr val="dk1"/>
              </a:buClr>
              <a:buSzPts val="1500"/>
              <a:buChar char="•"/>
              <a:defRPr sz="1500" i="0" u="none" strike="noStrike" cap="none">
                <a:solidFill>
                  <a:schemeClr val="dk1"/>
                </a:solidFill>
              </a:defRPr>
            </a:lvl5pPr>
            <a:lvl6pPr marL="2743200" marR="0" lvl="5" indent="-355600" algn="l" rtl="0">
              <a:spcBef>
                <a:spcPts val="400"/>
              </a:spcBef>
              <a:spcAft>
                <a:spcPts val="0"/>
              </a:spcAft>
              <a:buClr>
                <a:schemeClr val="dk1"/>
              </a:buClr>
              <a:buSzPts val="2000"/>
              <a:buChar char="•"/>
              <a:defRPr sz="2000" i="0" u="none" strike="noStrike" cap="none">
                <a:solidFill>
                  <a:schemeClr val="dk1"/>
                </a:solidFill>
              </a:defRPr>
            </a:lvl6pPr>
            <a:lvl7pPr marL="3200400" marR="0" lvl="6" indent="-355600" algn="l" rtl="0">
              <a:spcBef>
                <a:spcPts val="400"/>
              </a:spcBef>
              <a:spcAft>
                <a:spcPts val="0"/>
              </a:spcAft>
              <a:buClr>
                <a:schemeClr val="dk1"/>
              </a:buClr>
              <a:buSzPts val="2000"/>
              <a:buChar char="•"/>
              <a:defRPr sz="2000" i="0" u="none" strike="noStrike" cap="none">
                <a:solidFill>
                  <a:schemeClr val="dk1"/>
                </a:solidFill>
              </a:defRPr>
            </a:lvl7pPr>
            <a:lvl8pPr marL="3657600" marR="0" lvl="7" indent="-355600" algn="l" rtl="0">
              <a:spcBef>
                <a:spcPts val="400"/>
              </a:spcBef>
              <a:spcAft>
                <a:spcPts val="0"/>
              </a:spcAft>
              <a:buClr>
                <a:schemeClr val="dk1"/>
              </a:buClr>
              <a:buSzPts val="2000"/>
              <a:buChar char="•"/>
              <a:defRPr sz="2000" i="0" u="none" strike="noStrike" cap="none">
                <a:solidFill>
                  <a:schemeClr val="dk1"/>
                </a:solidFill>
              </a:defRPr>
            </a:lvl8pPr>
            <a:lvl9pPr marL="4114800" marR="0" lvl="8" indent="-355600" algn="l" rtl="0">
              <a:spcBef>
                <a:spcPts val="400"/>
              </a:spcBef>
              <a:spcAft>
                <a:spcPts val="0"/>
              </a:spcAft>
              <a:buClr>
                <a:schemeClr val="dk1"/>
              </a:buClr>
              <a:buSzPts val="2000"/>
              <a:buChar char="•"/>
              <a:defRPr sz="2000" i="0" u="none" strike="noStrike" cap="none">
                <a:solidFill>
                  <a:schemeClr val="dk1"/>
                </a:solidFill>
              </a:defRPr>
            </a:lvl9pPr>
          </a:lstStyle>
          <a:p>
            <a:endParaRPr/>
          </a:p>
        </p:txBody>
      </p:sp>
    </p:spTree>
  </p:cSld>
  <p:clrMap bg1="lt1" tx1="dk1" bg2="dk2" tx2="lt2" accent1="accent1" accent2="accent2" accent3="accent3" accent4="accent4" accent5="accent5" accent6="accent6" hlink="hlink" folHlink="folHlink"/>
  <p:sldLayoutIdLst>
    <p:sldLayoutId id="2147483669" r:id="rId1"/>
    <p:sldLayoutId id="2147497900" r:id="rId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F2EE7877-6960-8387-B2AF-8484EAAC232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6910" y="6169025"/>
            <a:ext cx="1282303"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extBox 3">
            <a:extLst>
              <a:ext uri="{FF2B5EF4-FFF2-40B4-BE49-F238E27FC236}">
                <a16:creationId xmlns:a16="http://schemas.microsoft.com/office/drawing/2014/main" id="{557DC482-0651-9053-1980-23B6B8322146}"/>
              </a:ext>
            </a:extLst>
          </p:cNvPr>
          <p:cNvSpPr txBox="1">
            <a:spLocks noChangeArrowheads="1"/>
          </p:cNvSpPr>
          <p:nvPr userDrawn="1"/>
        </p:nvSpPr>
        <p:spPr bwMode="auto">
          <a:xfrm>
            <a:off x="4856560" y="6543676"/>
            <a:ext cx="4196953"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altLang="en-US" sz="675">
                <a:solidFill>
                  <a:srgbClr val="7F7F7F"/>
                </a:solidFill>
                <a:latin typeface="Century Gothic" panose="020B0502020202020204" pitchFamily="34" charset="0"/>
              </a:rPr>
              <a:t>©DISNEY</a:t>
            </a:r>
          </a:p>
        </p:txBody>
      </p:sp>
    </p:spTree>
  </p:cSld>
  <p:clrMap bg1="lt1" tx1="dk1" bg2="lt2" tx2="dk2" accent1="accent1" accent2="accent2" accent3="accent3" accent4="accent4" accent5="accent5" accent6="accent6" hlink="hlink" folHlink="folHlink"/>
  <p:sldLayoutIdLst>
    <p:sldLayoutId id="2147483725" r:id="rId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69517" y="1157427"/>
            <a:ext cx="7204964" cy="1671955"/>
          </a:xfrm>
          <a:prstGeom prst="rect">
            <a:avLst/>
          </a:prstGeom>
        </p:spPr>
        <p:txBody>
          <a:bodyPr wrap="square" lIns="0" tIns="0" rIns="0" bIns="0">
            <a:spAutoFit/>
          </a:bodyPr>
          <a:lstStyle>
            <a:lvl1pPr>
              <a:defRPr sz="5400" b="1" i="0">
                <a:solidFill>
                  <a:schemeClr val="bg1"/>
                </a:solidFill>
                <a:latin typeface="Garamond"/>
                <a:cs typeface="Garamond"/>
              </a:defRPr>
            </a:lvl1pPr>
          </a:lstStyle>
          <a:p>
            <a:endParaRPr/>
          </a:p>
        </p:txBody>
      </p:sp>
      <p:sp>
        <p:nvSpPr>
          <p:cNvPr id="3" name="Holder 3"/>
          <p:cNvSpPr>
            <a:spLocks noGrp="1"/>
          </p:cNvSpPr>
          <p:nvPr>
            <p:ph type="body" idx="1"/>
          </p:nvPr>
        </p:nvSpPr>
        <p:spPr>
          <a:xfrm>
            <a:off x="4644009" y="1358265"/>
            <a:ext cx="3952240" cy="2275204"/>
          </a:xfrm>
          <a:prstGeom prst="rect">
            <a:avLst/>
          </a:prstGeom>
        </p:spPr>
        <p:txBody>
          <a:bodyPr wrap="square" lIns="0" tIns="0" rIns="0" bIns="0">
            <a:spAutoFit/>
          </a:bodyPr>
          <a:lstStyle>
            <a:lvl1pPr>
              <a:defRPr sz="1800" b="0" i="0">
                <a:solidFill>
                  <a:schemeClr val="bg1"/>
                </a:solidFill>
                <a:latin typeface="Baskerville Old Face"/>
                <a:cs typeface="Baskerville Old Face"/>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r>
              <a:rPr lang="en-US"/>
              <a:t>Industrial Sector</a:t>
            </a:r>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9F19A376-5FEC-0F40-8F6F-8AD04E31C16B}" type="datetime1">
              <a:rPr lang="en-US" smtClean="0"/>
              <a:t>6/11/2023</a:t>
            </a:fld>
            <a:endParaRPr lang="en-US"/>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97895" r:id="rId1"/>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71CE0A-7334-4623-AC89-0010A0C16E69}"/>
              </a:ext>
            </a:extLst>
          </p:cNvPr>
          <p:cNvSpPr>
            <a:spLocks noGrp="1"/>
          </p:cNvSpPr>
          <p:nvPr>
            <p:ph type="title"/>
          </p:nvPr>
        </p:nvSpPr>
        <p:spPr>
          <a:xfrm>
            <a:off x="181724" y="-230778"/>
            <a:ext cx="7886700" cy="1325563"/>
          </a:xfrm>
          <a:prstGeom prst="rect">
            <a:avLst/>
          </a:prstGeom>
        </p:spPr>
        <p:txBody>
          <a:bodyPr vert="horz" lIns="91440" tIns="45720" rIns="91440" bIns="45720" rtlCol="0" anchor="ctr">
            <a:normAutofit/>
          </a:bodyPr>
          <a:lstStyle/>
          <a:p>
            <a:r>
              <a:rPr lang="en-US" dirty="0"/>
              <a:t>Click to edit Master title style</a:t>
            </a:r>
            <a:endParaRPr lang="en-CA" dirty="0"/>
          </a:p>
        </p:txBody>
      </p:sp>
      <p:sp>
        <p:nvSpPr>
          <p:cNvPr id="3" name="Text Placeholder 2">
            <a:extLst>
              <a:ext uri="{FF2B5EF4-FFF2-40B4-BE49-F238E27FC236}">
                <a16:creationId xmlns:a16="http://schemas.microsoft.com/office/drawing/2014/main" id="{E99EEFF5-3264-4FD5-9F76-C6AC9D147CF4}"/>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a:extLst>
              <a:ext uri="{FF2B5EF4-FFF2-40B4-BE49-F238E27FC236}">
                <a16:creationId xmlns:a16="http://schemas.microsoft.com/office/drawing/2014/main" id="{8880BB22-AF52-4EE0-A4A1-4971AE6ECAA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1EA416A6-8BEE-4A3F-808B-0904628D6F34}" type="datetime1">
              <a:rPr lang="en-CA" smtClean="0"/>
              <a:t>2023-06-11</a:t>
            </a:fld>
            <a:endParaRPr lang="en-CA"/>
          </a:p>
        </p:txBody>
      </p:sp>
      <p:sp>
        <p:nvSpPr>
          <p:cNvPr id="5" name="Footer Placeholder 4">
            <a:extLst>
              <a:ext uri="{FF2B5EF4-FFF2-40B4-BE49-F238E27FC236}">
                <a16:creationId xmlns:a16="http://schemas.microsoft.com/office/drawing/2014/main" id="{7BF4A932-B66A-4731-8BD9-E41A50F4528F}"/>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C748CE3D-54FB-4440-9BD6-A5F6761D7774}"/>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1F560D5-53A7-4969-B8DF-E1F637D39903}" type="slidenum">
              <a:rPr lang="en-CA" smtClean="0"/>
              <a:t>‹#›</a:t>
            </a:fld>
            <a:endParaRPr lang="en-CA"/>
          </a:p>
        </p:txBody>
      </p:sp>
      <p:pic>
        <p:nvPicPr>
          <p:cNvPr id="7" name="Picture 6">
            <a:extLst>
              <a:ext uri="{FF2B5EF4-FFF2-40B4-BE49-F238E27FC236}">
                <a16:creationId xmlns:a16="http://schemas.microsoft.com/office/drawing/2014/main" id="{54879D7B-BA71-47A1-BD70-7BCCBC3C25F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2353" y="6543006"/>
            <a:ext cx="2483698" cy="219553"/>
          </a:xfrm>
          <a:prstGeom prst="rect">
            <a:avLst/>
          </a:prstGeom>
        </p:spPr>
      </p:pic>
    </p:spTree>
    <p:extLst>
      <p:ext uri="{BB962C8B-B14F-4D97-AF65-F5344CB8AC3E}">
        <p14:creationId xmlns:p14="http://schemas.microsoft.com/office/powerpoint/2010/main" val="109284353"/>
      </p:ext>
    </p:extLst>
  </p:cSld>
  <p:clrMap bg1="lt1" tx1="dk1" bg2="lt2" tx2="dk2" accent1="accent1" accent2="accent2" accent3="accent3" accent4="accent4" accent5="accent5" accent6="accent6" hlink="hlink" folHlink="folHlink"/>
  <p:sldLayoutIdLst>
    <p:sldLayoutId id="2147497899" r:id="rId1"/>
    <p:sldLayoutId id="2147497897" r:id="rId2"/>
  </p:sldLayoutIdLst>
  <p:hf hdr="0" ftr="0" dt="0"/>
  <p:txStyles>
    <p:titleStyle>
      <a:lvl1pPr algn="l" defTabSz="914400" rtl="0" eaLnBrk="1" latinLnBrk="0" hangingPunct="1">
        <a:lnSpc>
          <a:spcPct val="90000"/>
        </a:lnSpc>
        <a:spcBef>
          <a:spcPct val="0"/>
        </a:spcBef>
        <a:buNone/>
        <a:defRPr sz="3200" kern="1200">
          <a:solidFill>
            <a:srgbClr val="2A83B4"/>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Open Sans" panose="020B0606030504020204"/>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15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5FE1D6B-16DC-4032-8544-FA7ACB338AF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32D82888-532A-4481-ADFF-505DFC897802}"/>
              </a:ext>
            </a:extLst>
          </p:cNvPr>
          <p:cNvSpPr>
            <a:spLocks noGrp="1"/>
          </p:cNvSpPr>
          <p:nvPr>
            <p:ph type="dt" sz="half" idx="2"/>
          </p:nvPr>
        </p:nvSpPr>
        <p:spPr>
          <a:xfrm>
            <a:off x="628650" y="6356395"/>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CA"/>
          </a:p>
        </p:txBody>
      </p:sp>
      <p:sp>
        <p:nvSpPr>
          <p:cNvPr id="5" name="Footer Placeholder 4">
            <a:extLst>
              <a:ext uri="{FF2B5EF4-FFF2-40B4-BE49-F238E27FC236}">
                <a16:creationId xmlns:a16="http://schemas.microsoft.com/office/drawing/2014/main" id="{C07336E4-0F6C-4D88-9C72-46C23B2A03C3}"/>
              </a:ext>
            </a:extLst>
          </p:cNvPr>
          <p:cNvSpPr>
            <a:spLocks noGrp="1"/>
          </p:cNvSpPr>
          <p:nvPr>
            <p:ph type="ftr" sz="quarter" idx="3"/>
          </p:nvPr>
        </p:nvSpPr>
        <p:spPr>
          <a:xfrm>
            <a:off x="3028950" y="6356395"/>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D5603699-4A56-46C0-83A6-91F32F01BCC5}"/>
              </a:ext>
            </a:extLst>
          </p:cNvPr>
          <p:cNvSpPr>
            <a:spLocks noGrp="1"/>
          </p:cNvSpPr>
          <p:nvPr>
            <p:ph type="sldNum" sz="quarter" idx="4"/>
          </p:nvPr>
        </p:nvSpPr>
        <p:spPr>
          <a:xfrm>
            <a:off x="6457951" y="6356395"/>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AB0ECBF-5F06-4328-AFC1-E34C9406234B}" type="slidenum">
              <a:rPr lang="en-CA" smtClean="0"/>
              <a:t>‹#›</a:t>
            </a:fld>
            <a:endParaRPr lang="en-CA"/>
          </a:p>
        </p:txBody>
      </p:sp>
      <p:pic>
        <p:nvPicPr>
          <p:cNvPr id="7" name="Picture 6">
            <a:extLst>
              <a:ext uri="{FF2B5EF4-FFF2-40B4-BE49-F238E27FC236}">
                <a16:creationId xmlns:a16="http://schemas.microsoft.com/office/drawing/2014/main" id="{97132F0D-CC11-4DAF-BD78-E37EBA5093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2365" y="6543050"/>
            <a:ext cx="2483698" cy="219553"/>
          </a:xfrm>
          <a:prstGeom prst="rect">
            <a:avLst/>
          </a:prstGeom>
        </p:spPr>
      </p:pic>
    </p:spTree>
    <p:extLst>
      <p:ext uri="{BB962C8B-B14F-4D97-AF65-F5344CB8AC3E}">
        <p14:creationId xmlns:p14="http://schemas.microsoft.com/office/powerpoint/2010/main" val="1310371896"/>
      </p:ext>
    </p:extLst>
  </p:cSld>
  <p:clrMap bg1="lt1" tx1="dk1" bg2="lt2" tx2="dk2" accent1="accent1" accent2="accent2" accent3="accent3" accent4="accent4" accent5="accent5" accent6="accent6" hlink="hlink" folHlink="folHlink"/>
  <p:sldLayoutIdLst>
    <p:sldLayoutId id="2147483728"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158"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979D7F57-3150-4B6F-A3DD-1CF317ABC96D}"/>
              </a:ext>
            </a:extLst>
          </p:cNvPr>
          <p:cNvSpPr>
            <a:spLocks noGrp="1" noChangeArrowheads="1"/>
          </p:cNvSpPr>
          <p:nvPr>
            <p:ph type="title"/>
          </p:nvPr>
        </p:nvSpPr>
        <p:spPr bwMode="auto">
          <a:xfrm>
            <a:off x="457200" y="550863"/>
            <a:ext cx="8229600"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en-US"/>
              <a:t>ISE 608 (LS) </a:t>
            </a:r>
          </a:p>
        </p:txBody>
      </p:sp>
      <p:sp>
        <p:nvSpPr>
          <p:cNvPr id="1027" name="Rectangle 3">
            <a:extLst>
              <a:ext uri="{FF2B5EF4-FFF2-40B4-BE49-F238E27FC236}">
                <a16:creationId xmlns:a16="http://schemas.microsoft.com/office/drawing/2014/main" id="{2F2C99E1-DA48-40D8-8696-0221F59293FE}"/>
              </a:ext>
            </a:extLst>
          </p:cNvPr>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p:txBody>
      </p:sp>
      <p:sp>
        <p:nvSpPr>
          <p:cNvPr id="984068" name="Rectangle 4">
            <a:extLst>
              <a:ext uri="{FF2B5EF4-FFF2-40B4-BE49-F238E27FC236}">
                <a16:creationId xmlns:a16="http://schemas.microsoft.com/office/drawing/2014/main" id="{82B190FB-11A6-4565-84AF-B3058594D6BC}"/>
              </a:ext>
            </a:extLst>
          </p:cNvPr>
          <p:cNvSpPr>
            <a:spLocks noGrp="1" noChangeArrowheads="1"/>
          </p:cNvSpPr>
          <p:nvPr>
            <p:ph type="dt" sz="half" idx="2"/>
          </p:nvPr>
        </p:nvSpPr>
        <p:spPr bwMode="auto">
          <a:xfrm>
            <a:off x="7439025" y="6459538"/>
            <a:ext cx="1752600" cy="3587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rgbClr val="000000"/>
                </a:solidFill>
                <a:latin typeface="Arial" panose="020B0604020202020204" pitchFamily="34" charset="0"/>
              </a:defRPr>
            </a:lvl1pPr>
          </a:lstStyle>
          <a:p>
            <a:r>
              <a:rPr lang="de-DE" altLang="en-US"/>
              <a:t> - </a:t>
            </a:r>
            <a:fld id="{4A394591-01D6-4DDC-A9F2-02B77FBBD157}" type="datetime1">
              <a:rPr lang="de-DE" altLang="en-US"/>
              <a:pPr/>
              <a:t>11.06.2023</a:t>
            </a:fld>
            <a:r>
              <a:rPr lang="de-DE" altLang="en-US"/>
              <a:t> - </a:t>
            </a:r>
            <a:fld id="{37A18420-3973-4411-B506-067E2CFFBA13}" type="slidenum">
              <a:rPr lang="de-DE" altLang="en-US"/>
              <a:pPr/>
              <a:t>‹#›</a:t>
            </a:fld>
            <a:endParaRPr lang="de-DE" altLang="en-US"/>
          </a:p>
          <a:p>
            <a:endParaRPr lang="de-DE" altLang="en-US"/>
          </a:p>
        </p:txBody>
      </p:sp>
      <p:sp>
        <p:nvSpPr>
          <p:cNvPr id="1029" name="Line 11">
            <a:extLst>
              <a:ext uri="{FF2B5EF4-FFF2-40B4-BE49-F238E27FC236}">
                <a16:creationId xmlns:a16="http://schemas.microsoft.com/office/drawing/2014/main" id="{885DD12D-EC9B-471F-B8D2-4EBDBC39AA2C}"/>
              </a:ext>
            </a:extLst>
          </p:cNvPr>
          <p:cNvSpPr>
            <a:spLocks noChangeShapeType="1"/>
          </p:cNvSpPr>
          <p:nvPr/>
        </p:nvSpPr>
        <p:spPr bwMode="auto">
          <a:xfrm>
            <a:off x="457200" y="1314450"/>
            <a:ext cx="8229600" cy="0"/>
          </a:xfrm>
          <a:prstGeom prst="line">
            <a:avLst/>
          </a:prstGeom>
          <a:noFill/>
          <a:ln w="1905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30" name="Line 13">
            <a:extLst>
              <a:ext uri="{FF2B5EF4-FFF2-40B4-BE49-F238E27FC236}">
                <a16:creationId xmlns:a16="http://schemas.microsoft.com/office/drawing/2014/main" id="{1C17121A-D014-4249-BFAB-1F19C0E57A92}"/>
              </a:ext>
            </a:extLst>
          </p:cNvPr>
          <p:cNvSpPr>
            <a:spLocks noChangeShapeType="1"/>
          </p:cNvSpPr>
          <p:nvPr/>
        </p:nvSpPr>
        <p:spPr bwMode="auto">
          <a:xfrm>
            <a:off x="454025" y="6388100"/>
            <a:ext cx="8229600" cy="0"/>
          </a:xfrm>
          <a:prstGeom prst="line">
            <a:avLst/>
          </a:prstGeom>
          <a:noFill/>
          <a:ln w="1905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pic>
        <p:nvPicPr>
          <p:cNvPr id="5" name="Picture 4" descr="A screenshot of a cell phone&#10;&#10;Description automatically generated">
            <a:extLst>
              <a:ext uri="{FF2B5EF4-FFF2-40B4-BE49-F238E27FC236}">
                <a16:creationId xmlns:a16="http://schemas.microsoft.com/office/drawing/2014/main" id="{73E4A1C8-4634-440E-A9E1-7D320288325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666" t="14214" r="70833" b="78756"/>
          <a:stretch/>
        </p:blipFill>
        <p:spPr>
          <a:xfrm>
            <a:off x="2971800" y="6459538"/>
            <a:ext cx="2514600" cy="353994"/>
          </a:xfrm>
          <a:prstGeom prst="rect">
            <a:avLst/>
          </a:prstGeom>
        </p:spPr>
      </p:pic>
    </p:spTree>
  </p:cSld>
  <p:clrMap bg1="lt1" tx1="dk1" bg2="lt2" tx2="dk2" accent1="accent1" accent2="accent2" accent3="accent3" accent4="accent4" accent5="accent5" accent6="accent6" hlink="hlink" folHlink="folHlink"/>
  <p:sldLayoutIdLst>
    <p:sldLayoutId id="2147497324" r:id="rId1"/>
  </p:sldLayoutIdLst>
  <p:hf hdr="0" ftr="0"/>
  <p:txStyles>
    <p:title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7200" algn="l" rtl="0" fontAlgn="base">
        <a:spcBef>
          <a:spcPct val="0"/>
        </a:spcBef>
        <a:spcAft>
          <a:spcPct val="0"/>
        </a:spcAft>
        <a:defRPr sz="3200" b="1">
          <a:solidFill>
            <a:schemeClr val="tx2"/>
          </a:solidFill>
          <a:latin typeface="Arial" charset="0"/>
        </a:defRPr>
      </a:lvl6pPr>
      <a:lvl7pPr marL="914400" algn="l" rtl="0" fontAlgn="base">
        <a:spcBef>
          <a:spcPct val="0"/>
        </a:spcBef>
        <a:spcAft>
          <a:spcPct val="0"/>
        </a:spcAft>
        <a:defRPr sz="3200" b="1">
          <a:solidFill>
            <a:schemeClr val="tx2"/>
          </a:solidFill>
          <a:latin typeface="Arial" charset="0"/>
        </a:defRPr>
      </a:lvl7pPr>
      <a:lvl8pPr marL="1371600" algn="l" rtl="0" fontAlgn="base">
        <a:spcBef>
          <a:spcPct val="0"/>
        </a:spcBef>
        <a:spcAft>
          <a:spcPct val="0"/>
        </a:spcAft>
        <a:defRPr sz="3200" b="1">
          <a:solidFill>
            <a:schemeClr val="tx2"/>
          </a:solidFill>
          <a:latin typeface="Arial" charset="0"/>
        </a:defRPr>
      </a:lvl8pPr>
      <a:lvl9pPr marL="1828800" algn="l" rtl="0" fontAlgn="base">
        <a:spcBef>
          <a:spcPct val="0"/>
        </a:spcBef>
        <a:spcAft>
          <a:spcPct val="0"/>
        </a:spcAft>
        <a:defRPr sz="3200" b="1">
          <a:solidFill>
            <a:schemeClr val="tx2"/>
          </a:solidFill>
          <a:latin typeface="Arial" charset="0"/>
        </a:defRPr>
      </a:lvl9pPr>
    </p:titleStyle>
    <p:bodyStyle>
      <a:lvl1pPr marL="342900" indent="-342900" algn="l" rtl="0" eaLnBrk="0" fontAlgn="base" hangingPunct="0">
        <a:spcBef>
          <a:spcPct val="20000"/>
        </a:spcBef>
        <a:spcAft>
          <a:spcPct val="0"/>
        </a:spcAft>
        <a:buClr>
          <a:srgbClr val="CC0000"/>
        </a:buClr>
        <a:buFont typeface="Wingdings" panose="05000000000000000000" pitchFamily="2" charset="2"/>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CC0000"/>
        </a:buClr>
        <a:buChar char="•"/>
        <a:defRPr sz="2400">
          <a:solidFill>
            <a:schemeClr val="tx1"/>
          </a:solidFill>
          <a:latin typeface="+mn-lt"/>
        </a:defRPr>
      </a:lvl2pPr>
      <a:lvl3pPr marL="1143000" indent="-228600" algn="l" rtl="0" eaLnBrk="0" fontAlgn="base" hangingPunct="0">
        <a:spcBef>
          <a:spcPct val="20000"/>
        </a:spcBef>
        <a:spcAft>
          <a:spcPct val="0"/>
        </a:spcAft>
        <a:buClr>
          <a:srgbClr val="CC0000"/>
        </a:buClr>
        <a:buChar char="-"/>
        <a:defRPr sz="2000">
          <a:solidFill>
            <a:schemeClr val="tx1"/>
          </a:solidFill>
          <a:latin typeface="+mn-lt"/>
        </a:defRPr>
      </a:lvl3pPr>
      <a:lvl4pPr marL="1600200" indent="-228600" algn="l" rtl="0" eaLnBrk="0" fontAlgn="base" hangingPunct="0">
        <a:spcBef>
          <a:spcPct val="20000"/>
        </a:spcBef>
        <a:spcAft>
          <a:spcPct val="0"/>
        </a:spcAft>
        <a:buClr>
          <a:srgbClr val="060B70"/>
        </a:buClr>
        <a:buFont typeface="Arial" panose="020B0604020202020204" pitchFamily="34" charset="0"/>
        <a:buChar char="–"/>
        <a:defRPr sz="2000">
          <a:solidFill>
            <a:schemeClr val="tx1"/>
          </a:solidFill>
          <a:latin typeface="+mn-lt"/>
        </a:defRPr>
      </a:lvl4pPr>
      <a:lvl5pPr marL="2057400" indent="-228600" algn="l" rtl="0" eaLnBrk="0" fontAlgn="base" hangingPunct="0">
        <a:spcBef>
          <a:spcPct val="20000"/>
        </a:spcBef>
        <a:spcAft>
          <a:spcPct val="0"/>
        </a:spcAft>
        <a:buClr>
          <a:srgbClr val="060B70"/>
        </a:buClr>
        <a:buFont typeface="Arial" panose="020B0604020202020204" pitchFamily="34" charset="0"/>
        <a:buChar char="»"/>
        <a:defRPr sz="2000">
          <a:solidFill>
            <a:schemeClr val="tx1"/>
          </a:solidFill>
          <a:latin typeface="+mn-lt"/>
        </a:defRPr>
      </a:lvl5pPr>
      <a:lvl6pPr marL="2514600" indent="-228600" algn="l" rtl="0" fontAlgn="base">
        <a:spcBef>
          <a:spcPct val="20000"/>
        </a:spcBef>
        <a:spcAft>
          <a:spcPct val="0"/>
        </a:spcAft>
        <a:buClr>
          <a:srgbClr val="060B70"/>
        </a:buClr>
        <a:buFont typeface="Arial" charset="0"/>
        <a:buChar char="»"/>
        <a:defRPr sz="2000">
          <a:solidFill>
            <a:schemeClr val="tx1"/>
          </a:solidFill>
          <a:latin typeface="+mn-lt"/>
        </a:defRPr>
      </a:lvl6pPr>
      <a:lvl7pPr marL="2971800" indent="-228600" algn="l" rtl="0" fontAlgn="base">
        <a:spcBef>
          <a:spcPct val="20000"/>
        </a:spcBef>
        <a:spcAft>
          <a:spcPct val="0"/>
        </a:spcAft>
        <a:buClr>
          <a:srgbClr val="060B70"/>
        </a:buClr>
        <a:buFont typeface="Arial" charset="0"/>
        <a:buChar char="»"/>
        <a:defRPr sz="2000">
          <a:solidFill>
            <a:schemeClr val="tx1"/>
          </a:solidFill>
          <a:latin typeface="+mn-lt"/>
        </a:defRPr>
      </a:lvl7pPr>
      <a:lvl8pPr marL="3429000" indent="-228600" algn="l" rtl="0" fontAlgn="base">
        <a:spcBef>
          <a:spcPct val="20000"/>
        </a:spcBef>
        <a:spcAft>
          <a:spcPct val="0"/>
        </a:spcAft>
        <a:buClr>
          <a:srgbClr val="060B70"/>
        </a:buClr>
        <a:buFont typeface="Arial" charset="0"/>
        <a:buChar char="»"/>
        <a:defRPr sz="2000">
          <a:solidFill>
            <a:schemeClr val="tx1"/>
          </a:solidFill>
          <a:latin typeface="+mn-lt"/>
        </a:defRPr>
      </a:lvl8pPr>
      <a:lvl9pPr marL="3886200" indent="-228600" algn="l" rtl="0" fontAlgn="base">
        <a:spcBef>
          <a:spcPct val="20000"/>
        </a:spcBef>
        <a:spcAft>
          <a:spcPct val="0"/>
        </a:spcAft>
        <a:buClr>
          <a:srgbClr val="060B70"/>
        </a:buClr>
        <a:buFont typeface="Arial"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71CE0A-7334-4623-AC89-0010A0C16E69}"/>
              </a:ext>
            </a:extLst>
          </p:cNvPr>
          <p:cNvSpPr>
            <a:spLocks noGrp="1"/>
          </p:cNvSpPr>
          <p:nvPr>
            <p:ph type="title"/>
          </p:nvPr>
        </p:nvSpPr>
        <p:spPr>
          <a:xfrm>
            <a:off x="181724" y="-230778"/>
            <a:ext cx="7886700" cy="1325563"/>
          </a:xfrm>
          <a:prstGeom prst="rect">
            <a:avLst/>
          </a:prstGeom>
        </p:spPr>
        <p:txBody>
          <a:bodyPr vert="horz" lIns="91440" tIns="45720" rIns="91440" bIns="45720" rtlCol="0" anchor="ctr">
            <a:normAutofit/>
          </a:bodyPr>
          <a:lstStyle/>
          <a:p>
            <a:r>
              <a:rPr lang="en-US" dirty="0"/>
              <a:t>Click to edit Master title style</a:t>
            </a:r>
            <a:endParaRPr lang="en-CA" dirty="0"/>
          </a:p>
        </p:txBody>
      </p:sp>
      <p:sp>
        <p:nvSpPr>
          <p:cNvPr id="3" name="Text Placeholder 2">
            <a:extLst>
              <a:ext uri="{FF2B5EF4-FFF2-40B4-BE49-F238E27FC236}">
                <a16:creationId xmlns:a16="http://schemas.microsoft.com/office/drawing/2014/main" id="{E99EEFF5-3264-4FD5-9F76-C6AC9D147CF4}"/>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a:extLst>
              <a:ext uri="{FF2B5EF4-FFF2-40B4-BE49-F238E27FC236}">
                <a16:creationId xmlns:a16="http://schemas.microsoft.com/office/drawing/2014/main" id="{8880BB22-AF52-4EE0-A4A1-4971AE6ECAA3}"/>
              </a:ext>
            </a:extLst>
          </p:cNvPr>
          <p:cNvSpPr>
            <a:spLocks noGrp="1"/>
          </p:cNvSpPr>
          <p:nvPr>
            <p:ph type="dt" sz="half" idx="2"/>
          </p:nvPr>
        </p:nvSpPr>
        <p:spPr>
          <a:xfrm>
            <a:off x="628650" y="6356357"/>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1EA416A6-8BEE-4A3F-808B-0904628D6F34}" type="datetime1">
              <a:rPr lang="en-CA" smtClean="0"/>
              <a:t>2023-06-11</a:t>
            </a:fld>
            <a:endParaRPr lang="en-CA"/>
          </a:p>
        </p:txBody>
      </p:sp>
      <p:sp>
        <p:nvSpPr>
          <p:cNvPr id="5" name="Footer Placeholder 4">
            <a:extLst>
              <a:ext uri="{FF2B5EF4-FFF2-40B4-BE49-F238E27FC236}">
                <a16:creationId xmlns:a16="http://schemas.microsoft.com/office/drawing/2014/main" id="{7BF4A932-B66A-4731-8BD9-E41A50F4528F}"/>
              </a:ext>
            </a:extLst>
          </p:cNvPr>
          <p:cNvSpPr>
            <a:spLocks noGrp="1"/>
          </p:cNvSpPr>
          <p:nvPr>
            <p:ph type="ftr" sz="quarter" idx="3"/>
          </p:nvPr>
        </p:nvSpPr>
        <p:spPr>
          <a:xfrm>
            <a:off x="3028950" y="6356357"/>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C748CE3D-54FB-4440-9BD6-A5F6761D7774}"/>
              </a:ext>
            </a:extLst>
          </p:cNvPr>
          <p:cNvSpPr>
            <a:spLocks noGrp="1"/>
          </p:cNvSpPr>
          <p:nvPr>
            <p:ph type="sldNum" sz="quarter" idx="4"/>
          </p:nvPr>
        </p:nvSpPr>
        <p:spPr>
          <a:xfrm>
            <a:off x="6457950" y="6356357"/>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1F560D5-53A7-4969-B8DF-E1F637D39903}" type="slidenum">
              <a:rPr lang="en-CA" smtClean="0"/>
              <a:t>‹#›</a:t>
            </a:fld>
            <a:endParaRPr lang="en-CA"/>
          </a:p>
        </p:txBody>
      </p:sp>
    </p:spTree>
    <p:extLst>
      <p:ext uri="{BB962C8B-B14F-4D97-AF65-F5344CB8AC3E}">
        <p14:creationId xmlns:p14="http://schemas.microsoft.com/office/powerpoint/2010/main" val="1255074819"/>
      </p:ext>
    </p:extLst>
  </p:cSld>
  <p:clrMap bg1="lt1" tx1="dk1" bg2="lt2" tx2="dk2" accent1="accent1" accent2="accent2" accent3="accent3" accent4="accent4" accent5="accent5" accent6="accent6" hlink="hlink" folHlink="folHlink"/>
  <p:sldLayoutIdLst>
    <p:sldLayoutId id="2147484644" r:id="rId1"/>
    <p:sldLayoutId id="2147497890" r:id="rId2"/>
    <p:sldLayoutId id="2147483684" r:id="rId3"/>
    <p:sldLayoutId id="2147483682" r:id="rId4"/>
  </p:sldLayoutIdLst>
  <p:hf hdr="0" ftr="0" dt="0"/>
  <p:txStyles>
    <p:titleStyle>
      <a:lvl1pPr algn="l" defTabSz="914354" rtl="0" eaLnBrk="1" latinLnBrk="0" hangingPunct="1">
        <a:lnSpc>
          <a:spcPct val="90000"/>
        </a:lnSpc>
        <a:spcBef>
          <a:spcPct val="0"/>
        </a:spcBef>
        <a:buNone/>
        <a:defRPr sz="3200" kern="1200">
          <a:solidFill>
            <a:srgbClr val="2A83B4"/>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600" kern="1200">
          <a:solidFill>
            <a:schemeClr val="tx1"/>
          </a:solidFill>
          <a:latin typeface="Open Sans" panose="020B0606030504020204"/>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158"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73FE9D-8277-4908-BEF9-5B6F6CF46737}" type="datetime1">
              <a:rPr lang="en-US" smtClean="0"/>
              <a:t>6/11/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S. Cunningham;  Intel Corporation; 2013</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8D0224-7849-4939-A284-59648356A652}"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52" r:id="rId1"/>
    <p:sldLayoutId id="2147497791" r:id="rId2"/>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69517" y="1157427"/>
            <a:ext cx="7204964" cy="1671955"/>
          </a:xfrm>
          <a:prstGeom prst="rect">
            <a:avLst/>
          </a:prstGeom>
        </p:spPr>
        <p:txBody>
          <a:bodyPr wrap="square" lIns="0" tIns="0" rIns="0" bIns="0">
            <a:spAutoFit/>
          </a:bodyPr>
          <a:lstStyle>
            <a:lvl1pPr>
              <a:defRPr sz="5400" b="1" i="0">
                <a:solidFill>
                  <a:schemeClr val="bg1"/>
                </a:solidFill>
                <a:latin typeface="Garamond"/>
                <a:cs typeface="Garamond"/>
              </a:defRPr>
            </a:lvl1pPr>
          </a:lstStyle>
          <a:p>
            <a:endParaRPr/>
          </a:p>
        </p:txBody>
      </p:sp>
      <p:sp>
        <p:nvSpPr>
          <p:cNvPr id="3" name="Holder 3"/>
          <p:cNvSpPr>
            <a:spLocks noGrp="1"/>
          </p:cNvSpPr>
          <p:nvPr>
            <p:ph type="body" idx="1"/>
          </p:nvPr>
        </p:nvSpPr>
        <p:spPr>
          <a:xfrm>
            <a:off x="4644009" y="1358265"/>
            <a:ext cx="3952240" cy="2275204"/>
          </a:xfrm>
          <a:prstGeom prst="rect">
            <a:avLst/>
          </a:prstGeom>
        </p:spPr>
        <p:txBody>
          <a:bodyPr wrap="square" lIns="0" tIns="0" rIns="0" bIns="0">
            <a:spAutoFit/>
          </a:bodyPr>
          <a:lstStyle>
            <a:lvl1pPr>
              <a:defRPr sz="1800" b="0" i="0">
                <a:solidFill>
                  <a:schemeClr val="bg1"/>
                </a:solidFill>
                <a:latin typeface="Baskerville Old Face"/>
                <a:cs typeface="Baskerville Old Face"/>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11/2023</a:t>
            </a:fld>
            <a:endParaRPr lang="en-US"/>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2" r:id="rId1"/>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image" Target="../media/image13.jpg"/><Relationship Id="rId7" Type="http://schemas.openxmlformats.org/officeDocument/2006/relationships/hyperlink" Target="https://www.linkedin.com/in/dscottsink/" TargetMode="External"/><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jpeg"/></Relationships>
</file>

<file path=ppt/slides/_rels/slide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2" Type="http://schemas.openxmlformats.org/officeDocument/2006/relationships/image" Target="../media/image22.tmp"/><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24.tmp"/><Relationship Id="rId2" Type="http://schemas.openxmlformats.org/officeDocument/2006/relationships/image" Target="../media/image23.jpg"/><Relationship Id="rId1" Type="http://schemas.openxmlformats.org/officeDocument/2006/relationships/slideLayout" Target="../slideLayouts/slideLayout17.xml"/><Relationship Id="rId4" Type="http://schemas.openxmlformats.org/officeDocument/2006/relationships/image" Target="../media/image25.tm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image" Target="../media/image28.jpeg"/><Relationship Id="rId2" Type="http://schemas.openxmlformats.org/officeDocument/2006/relationships/diagramData" Target="../diagrams/data2.xml"/><Relationship Id="rId1" Type="http://schemas.openxmlformats.org/officeDocument/2006/relationships/slideLayout" Target="../slideLayouts/slideLayout3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23.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31.xml"/><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Layout" Target="../slideLayouts/slideLayout2.xml"/><Relationship Id="rId4" Type="http://schemas.openxmlformats.org/officeDocument/2006/relationships/image" Target="../media/image34.jp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3" Type="http://schemas.openxmlformats.org/officeDocument/2006/relationships/image" Target="../media/image36.gif"/><Relationship Id="rId2" Type="http://schemas.openxmlformats.org/officeDocument/2006/relationships/image" Target="../media/image35.png"/><Relationship Id="rId1" Type="http://schemas.openxmlformats.org/officeDocument/2006/relationships/slideLayout" Target="../slideLayouts/slideLayout23.xml"/><Relationship Id="rId6" Type="http://schemas.openxmlformats.org/officeDocument/2006/relationships/image" Target="../media/image39.jpeg"/><Relationship Id="rId5" Type="http://schemas.openxmlformats.org/officeDocument/2006/relationships/image" Target="../media/image38.png"/><Relationship Id="rId4" Type="http://schemas.openxmlformats.org/officeDocument/2006/relationships/image" Target="../media/image37.png"/></Relationships>
</file>

<file path=ppt/slides/_rels/slide3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image" Target="../media/image43.jpeg"/></Relationships>
</file>

<file path=ppt/slides/_rels/slide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43.jpeg"/></Relationships>
</file>

<file path=ppt/slides/_rels/slide38.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30.xml"/><Relationship Id="rId4" Type="http://schemas.openxmlformats.org/officeDocument/2006/relationships/image" Target="../media/image45.png"/></Relationships>
</file>

<file path=ppt/slides/_rels/slide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8" Type="http://schemas.openxmlformats.org/officeDocument/2006/relationships/image" Target="../media/image53.jpg"/><Relationship Id="rId3" Type="http://schemas.openxmlformats.org/officeDocument/2006/relationships/image" Target="../media/image48.png"/><Relationship Id="rId7" Type="http://schemas.openxmlformats.org/officeDocument/2006/relationships/image" Target="../media/image52.jpeg"/><Relationship Id="rId2" Type="http://schemas.openxmlformats.org/officeDocument/2006/relationships/notesSlide" Target="../notesSlides/notesSlide12.xml"/><Relationship Id="rId1" Type="http://schemas.openxmlformats.org/officeDocument/2006/relationships/slideLayout" Target="../slideLayouts/slideLayout35.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s/_rels/slide4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35.xml"/><Relationship Id="rId4" Type="http://schemas.openxmlformats.org/officeDocument/2006/relationships/image" Target="../media/image48.png"/></Relationships>
</file>

<file path=ppt/slides/_rels/slide4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29.xml"/><Relationship Id="rId4" Type="http://schemas.openxmlformats.org/officeDocument/2006/relationships/image" Target="../media/image27.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28.xml"/><Relationship Id="rId4" Type="http://schemas.openxmlformats.org/officeDocument/2006/relationships/image" Target="../media/image43.jpeg"/></Relationships>
</file>

<file path=ppt/slides/_rels/slide4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image" Target="../media/image57.jfif"/><Relationship Id="rId7" Type="http://schemas.openxmlformats.org/officeDocument/2006/relationships/image" Target="../media/image61.svg"/><Relationship Id="rId2" Type="http://schemas.openxmlformats.org/officeDocument/2006/relationships/notesSlide" Target="../notesSlides/notesSlide18.xml"/><Relationship Id="rId1" Type="http://schemas.openxmlformats.org/officeDocument/2006/relationships/slideLayout" Target="../slideLayouts/slideLayout17.xml"/><Relationship Id="rId6" Type="http://schemas.openxmlformats.org/officeDocument/2006/relationships/image" Target="../media/image60.png"/><Relationship Id="rId5" Type="http://schemas.openxmlformats.org/officeDocument/2006/relationships/image" Target="../media/image59.jfif"/><Relationship Id="rId4" Type="http://schemas.openxmlformats.org/officeDocument/2006/relationships/image" Target="../media/image58.png"/></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22.xml"/><Relationship Id="rId6" Type="http://schemas.openxmlformats.org/officeDocument/2006/relationships/image" Target="../media/image63.png"/><Relationship Id="rId5" Type="http://schemas.openxmlformats.org/officeDocument/2006/relationships/image" Target="../media/image42.png"/><Relationship Id="rId4" Type="http://schemas.openxmlformats.org/officeDocument/2006/relationships/image" Target="../media/image62.png"/></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3" Type="http://schemas.openxmlformats.org/officeDocument/2006/relationships/hyperlink" Target="https://us06web.zoom.us/webinar/register/WN_AYES5buwT4uDqfdFMOe8bw" TargetMode="External"/><Relationship Id="rId2" Type="http://schemas.openxmlformats.org/officeDocument/2006/relationships/image" Target="../media/image64.png"/><Relationship Id="rId1" Type="http://schemas.openxmlformats.org/officeDocument/2006/relationships/slideLayout" Target="../slideLayouts/slideLayout21.xml"/><Relationship Id="rId5" Type="http://schemas.openxmlformats.org/officeDocument/2006/relationships/hyperlink" Target="https://us06web.zoom.us/webinar/register/WN_uC_fHc7eRnGMsU-QIBcmmQ" TargetMode="External"/><Relationship Id="rId4" Type="http://schemas.openxmlformats.org/officeDocument/2006/relationships/hyperlink" Target="https://us06web.zoom.us/webinar/register/WN_Ruq2WDscTMGvBDqjpxUlyw" TargetMode="Externa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hyperlink" Target="mailto:jswisher@iise.org" TargetMode="Externa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4.xml"/><Relationship Id="rId5" Type="http://schemas.openxmlformats.org/officeDocument/2006/relationships/image" Target="../media/image68.png"/><Relationship Id="rId4" Type="http://schemas.openxmlformats.org/officeDocument/2006/relationships/image" Target="../media/image67.png"/></Relationships>
</file>

<file path=ppt/slides/_rels/slide5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jpg"/><Relationship Id="rId7" Type="http://schemas.openxmlformats.org/officeDocument/2006/relationships/image" Target="../media/image73.jp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72.jpg"/><Relationship Id="rId5" Type="http://schemas.openxmlformats.org/officeDocument/2006/relationships/image" Target="../media/image71.jpg"/><Relationship Id="rId10" Type="http://schemas.openxmlformats.org/officeDocument/2006/relationships/image" Target="../media/image76.jpg"/><Relationship Id="rId4" Type="http://schemas.openxmlformats.org/officeDocument/2006/relationships/image" Target="../media/image70.jpg"/><Relationship Id="rId9" Type="http://schemas.openxmlformats.org/officeDocument/2006/relationships/image" Target="../media/image75.jpeg"/></Relationships>
</file>

<file path=ppt/slides/_rels/slide5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6.xml"/><Relationship Id="rId6" Type="http://schemas.openxmlformats.org/officeDocument/2006/relationships/image" Target="../media/image74.png"/><Relationship Id="rId5" Type="http://schemas.openxmlformats.org/officeDocument/2006/relationships/hyperlink" Target="https://careerfoundry.com/en/blog/data-analytics/best-data-analytics-certification-programs/" TargetMode="External"/><Relationship Id="rId4" Type="http://schemas.openxmlformats.org/officeDocument/2006/relationships/image" Target="../media/image79.tmp"/></Relationships>
</file>

<file path=ppt/slides/_rels/slide59.xml.rels><?xml version="1.0" encoding="UTF-8" standalone="yes"?>
<Relationships xmlns="http://schemas.openxmlformats.org/package/2006/relationships"><Relationship Id="rId3" Type="http://schemas.openxmlformats.org/officeDocument/2006/relationships/image" Target="../media/image80.jfif"/><Relationship Id="rId2" Type="http://schemas.openxmlformats.org/officeDocument/2006/relationships/image" Target="../media/image77.png"/><Relationship Id="rId1" Type="http://schemas.openxmlformats.org/officeDocument/2006/relationships/slideLayout" Target="../slideLayouts/slideLayout26.xml"/><Relationship Id="rId4" Type="http://schemas.openxmlformats.org/officeDocument/2006/relationships/image" Target="../media/image81.png"/></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3.xml"/></Relationships>
</file>

<file path=ppt/slides/_rels/slide60.xml.rels><?xml version="1.0" encoding="UTF-8" standalone="yes"?>
<Relationships xmlns="http://schemas.openxmlformats.org/package/2006/relationships"><Relationship Id="rId3" Type="http://schemas.openxmlformats.org/officeDocument/2006/relationships/image" Target="../media/image82.tmp"/><Relationship Id="rId2" Type="http://schemas.openxmlformats.org/officeDocument/2006/relationships/image" Target="../media/image77.png"/><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31.xml"/><Relationship Id="rId4" Type="http://schemas.openxmlformats.org/officeDocument/2006/relationships/image" Target="../media/image31.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hyperlink" Target="https://www.iise.org/details.aspx?id=46729#service" TargetMode="External"/><Relationship Id="rId2" Type="http://schemas.openxmlformats.org/officeDocument/2006/relationships/image" Target="../media/image83.tmp"/><Relationship Id="rId1" Type="http://schemas.openxmlformats.org/officeDocument/2006/relationships/slideLayout" Target="../slideLayouts/slideLayout18.xml"/><Relationship Id="rId6" Type="http://schemas.openxmlformats.org/officeDocument/2006/relationships/image" Target="../media/image86.tmp"/><Relationship Id="rId5" Type="http://schemas.openxmlformats.org/officeDocument/2006/relationships/image" Target="../media/image85.jpeg"/><Relationship Id="rId4" Type="http://schemas.openxmlformats.org/officeDocument/2006/relationships/image" Target="../media/image84.tmp"/></Relationships>
</file>

<file path=ppt/slides/_rels/slide65.xml.rels><?xml version="1.0" encoding="UTF-8" standalone="yes"?>
<Relationships xmlns="http://schemas.openxmlformats.org/package/2006/relationships"><Relationship Id="rId3" Type="http://schemas.openxmlformats.org/officeDocument/2006/relationships/hyperlink" Target="https://www.iise.org/details.aspx?id=46729#service" TargetMode="External"/><Relationship Id="rId2" Type="http://schemas.openxmlformats.org/officeDocument/2006/relationships/image" Target="../media/image83.tmp"/><Relationship Id="rId1" Type="http://schemas.openxmlformats.org/officeDocument/2006/relationships/slideLayout" Target="../slideLayouts/slideLayout18.xml"/><Relationship Id="rId4" Type="http://schemas.openxmlformats.org/officeDocument/2006/relationships/image" Target="../media/image87.tmp"/></Relationships>
</file>

<file path=ppt/slides/_rels/slide6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3.xml"/><Relationship Id="rId5" Type="http://schemas.openxmlformats.org/officeDocument/2006/relationships/image" Target="../media/image93.png"/><Relationship Id="rId4" Type="http://schemas.openxmlformats.org/officeDocument/2006/relationships/image" Target="../media/image92.png"/></Relationships>
</file>

<file path=ppt/slides/_rels/slide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22.xml"/><Relationship Id="rId6" Type="http://schemas.openxmlformats.org/officeDocument/2006/relationships/image" Target="../media/image63.png"/><Relationship Id="rId5" Type="http://schemas.openxmlformats.org/officeDocument/2006/relationships/image" Target="../media/image42.png"/><Relationship Id="rId4" Type="http://schemas.openxmlformats.org/officeDocument/2006/relationships/image" Target="../media/image6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22.xml"/><Relationship Id="rId4" Type="http://schemas.openxmlformats.org/officeDocument/2006/relationships/image" Target="../media/image62.png"/></Relationships>
</file>

<file path=ppt/slides/_rels/slide71.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94.jfif"/><Relationship Id="rId1" Type="http://schemas.openxmlformats.org/officeDocument/2006/relationships/slideLayout" Target="../slideLayouts/slideLayout16.xml"/><Relationship Id="rId5" Type="http://schemas.openxmlformats.org/officeDocument/2006/relationships/image" Target="../media/image96.svg"/><Relationship Id="rId4" Type="http://schemas.openxmlformats.org/officeDocument/2006/relationships/image" Target="../media/image9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 y="-45720"/>
            <a:ext cx="9143999" cy="6903720"/>
          </a:xfrm>
          <a:prstGeom prst="rect">
            <a:avLst/>
          </a:prstGeom>
          <a:blipFill>
            <a:blip r:embed="rId3" cstate="print"/>
            <a:stretch>
              <a:fillRect/>
            </a:stretch>
          </a:blipFill>
        </p:spPr>
        <p:txBody>
          <a:bodyPr wrap="square" lIns="0" tIns="0" rIns="0" bIns="0" rtlCol="0"/>
          <a:lstStyle/>
          <a:p>
            <a:endParaRPr lang="en-US"/>
          </a:p>
        </p:txBody>
      </p:sp>
      <p:sp>
        <p:nvSpPr>
          <p:cNvPr id="22" name="Rectangle: Rounded Corners 21">
            <a:extLst>
              <a:ext uri="{FF2B5EF4-FFF2-40B4-BE49-F238E27FC236}">
                <a16:creationId xmlns:a16="http://schemas.microsoft.com/office/drawing/2014/main" id="{693B6C1D-D021-4EC9-AC66-7E12E6EAE67F}"/>
              </a:ext>
            </a:extLst>
          </p:cNvPr>
          <p:cNvSpPr/>
          <p:nvPr/>
        </p:nvSpPr>
        <p:spPr>
          <a:xfrm>
            <a:off x="38330" y="2257854"/>
            <a:ext cx="3771670" cy="1933243"/>
          </a:xfrm>
          <a:prstGeom prst="roundRect">
            <a:avLst>
              <a:gd name="adj" fmla="val 4697"/>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b="1" dirty="0">
                <a:latin typeface="Roboto" panose="020B0604020202020204" charset="0"/>
                <a:ea typeface="Roboto" panose="020B0604020202020204" charset="0"/>
              </a:rPr>
              <a:t>IISE Coordinator</a:t>
            </a:r>
          </a:p>
        </p:txBody>
      </p:sp>
      <p:sp>
        <p:nvSpPr>
          <p:cNvPr id="28" name="TextBox 27">
            <a:extLst>
              <a:ext uri="{FF2B5EF4-FFF2-40B4-BE49-F238E27FC236}">
                <a16:creationId xmlns:a16="http://schemas.microsoft.com/office/drawing/2014/main" id="{BA4CEFC9-7EA0-4E3D-8519-C99F7A7D0F70}"/>
              </a:ext>
            </a:extLst>
          </p:cNvPr>
          <p:cNvSpPr txBox="1"/>
          <p:nvPr/>
        </p:nvSpPr>
        <p:spPr>
          <a:xfrm>
            <a:off x="1565673" y="2958455"/>
            <a:ext cx="2070816" cy="723275"/>
          </a:xfrm>
          <a:prstGeom prst="rect">
            <a:avLst/>
          </a:prstGeom>
          <a:noFill/>
        </p:spPr>
        <p:txBody>
          <a:bodyPr wrap="square" rtlCol="0">
            <a:spAutoFit/>
          </a:bodyPr>
          <a:lstStyle/>
          <a:p>
            <a:pPr algn="ctr"/>
            <a:r>
              <a:rPr lang="en-US" sz="900" b="1" dirty="0">
                <a:solidFill>
                  <a:schemeClr val="bg1"/>
                </a:solidFill>
              </a:rPr>
              <a:t>D. Scott Sink</a:t>
            </a:r>
          </a:p>
          <a:p>
            <a:pPr algn="ctr"/>
            <a:r>
              <a:rPr lang="en-US" sz="900" b="1" dirty="0">
                <a:solidFill>
                  <a:schemeClr val="bg1"/>
                </a:solidFill>
              </a:rPr>
              <a:t>IISE Performance Excellence and Op Analytics Volunteer Lead</a:t>
            </a:r>
          </a:p>
          <a:p>
            <a:pPr algn="ctr"/>
            <a:r>
              <a:rPr lang="en-US" sz="900" b="1" dirty="0">
                <a:solidFill>
                  <a:schemeClr val="bg1"/>
                </a:solidFill>
              </a:rPr>
              <a:t>Facilitator/Member, CISE</a:t>
            </a:r>
          </a:p>
          <a:p>
            <a:pPr algn="ctr"/>
            <a:endParaRPr lang="en-US" sz="500" dirty="0">
              <a:solidFill>
                <a:schemeClr val="bg1"/>
              </a:solidFill>
            </a:endParaRPr>
          </a:p>
        </p:txBody>
      </p:sp>
      <p:pic>
        <p:nvPicPr>
          <p:cNvPr id="5" name="Picture 4">
            <a:extLst>
              <a:ext uri="{FF2B5EF4-FFF2-40B4-BE49-F238E27FC236}">
                <a16:creationId xmlns:a16="http://schemas.microsoft.com/office/drawing/2014/main" id="{AFD8D61E-987F-4EB6-88A2-2F19E77A4CB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19304" y="2675018"/>
            <a:ext cx="1219200" cy="1211952"/>
          </a:xfrm>
          <a:prstGeom prst="rect">
            <a:avLst/>
          </a:prstGeom>
        </p:spPr>
      </p:pic>
      <p:sp>
        <p:nvSpPr>
          <p:cNvPr id="10" name="object 3">
            <a:extLst>
              <a:ext uri="{FF2B5EF4-FFF2-40B4-BE49-F238E27FC236}">
                <a16:creationId xmlns:a16="http://schemas.microsoft.com/office/drawing/2014/main" id="{B47D77AC-10E5-F7CA-1821-CA4162CCE788}"/>
              </a:ext>
            </a:extLst>
          </p:cNvPr>
          <p:cNvSpPr txBox="1">
            <a:spLocks/>
          </p:cNvSpPr>
          <p:nvPr/>
        </p:nvSpPr>
        <p:spPr>
          <a:xfrm>
            <a:off x="232819" y="52894"/>
            <a:ext cx="5536925" cy="2106346"/>
          </a:xfrm>
          <a:prstGeom prst="rect">
            <a:avLst/>
          </a:prstGeom>
        </p:spPr>
        <p:txBody>
          <a:bodyPr vert="horz" wrap="square" lIns="0" tIns="53975" rIns="0" bIns="0" rtlCol="0">
            <a:spAutoFit/>
          </a:bodyPr>
          <a:lstStyle>
            <a:lvl1pPr>
              <a:defRPr sz="5400" b="1" i="0">
                <a:solidFill>
                  <a:schemeClr val="bg1"/>
                </a:solidFill>
                <a:latin typeface="Garamond"/>
                <a:ea typeface="+mj-ea"/>
                <a:cs typeface="Garamond"/>
              </a:defRPr>
            </a:lvl1pPr>
          </a:lstStyle>
          <a:p>
            <a:pPr marL="1187450" marR="5080" indent="-1175385" algn="l">
              <a:lnSpc>
                <a:spcPts val="2590"/>
              </a:lnSpc>
              <a:spcBef>
                <a:spcPts val="425"/>
              </a:spcBef>
            </a:pPr>
            <a:r>
              <a:rPr lang="en-US" sz="2400" kern="0" dirty="0">
                <a:solidFill>
                  <a:schemeClr val="accent6">
                    <a:lumMod val="75000"/>
                  </a:schemeClr>
                </a:solidFill>
                <a:latin typeface="Arial"/>
                <a:cs typeface="Arial"/>
              </a:rPr>
              <a:t>IISE Global Performance Excellence Webinar Series:</a:t>
            </a:r>
          </a:p>
          <a:p>
            <a:pPr marL="1187450" marR="5080" indent="-1175385" algn="l">
              <a:lnSpc>
                <a:spcPts val="2590"/>
              </a:lnSpc>
              <a:spcBef>
                <a:spcPts val="425"/>
              </a:spcBef>
            </a:pPr>
            <a:r>
              <a:rPr lang="en-US" sz="2400" kern="0" dirty="0">
                <a:solidFill>
                  <a:schemeClr val="accent6">
                    <a:lumMod val="60000"/>
                    <a:lumOff val="40000"/>
                  </a:schemeClr>
                </a:solidFill>
                <a:latin typeface="Arial"/>
                <a:cs typeface="Arial"/>
              </a:rPr>
              <a:t>Operational Analytics 101:  Foundations for Great Performance Measurement Systems</a:t>
            </a:r>
          </a:p>
        </p:txBody>
      </p:sp>
      <p:sp>
        <p:nvSpPr>
          <p:cNvPr id="3" name="Rectangle: Rounded Corners 2">
            <a:extLst>
              <a:ext uri="{FF2B5EF4-FFF2-40B4-BE49-F238E27FC236}">
                <a16:creationId xmlns:a16="http://schemas.microsoft.com/office/drawing/2014/main" id="{5CB5E778-EB37-08BC-8A65-E0A5BEF24F5F}"/>
              </a:ext>
            </a:extLst>
          </p:cNvPr>
          <p:cNvSpPr/>
          <p:nvPr/>
        </p:nvSpPr>
        <p:spPr>
          <a:xfrm>
            <a:off x="3629080" y="5967751"/>
            <a:ext cx="2543120" cy="463447"/>
          </a:xfrm>
          <a:prstGeom prst="roundRect">
            <a:avLst/>
          </a:prstGeom>
          <a:solidFill>
            <a:schemeClr val="accent6">
              <a:lumMod val="7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12 June 2023</a:t>
            </a:r>
          </a:p>
        </p:txBody>
      </p:sp>
      <p:sp>
        <p:nvSpPr>
          <p:cNvPr id="6" name="Rectangle 5">
            <a:extLst>
              <a:ext uri="{FF2B5EF4-FFF2-40B4-BE49-F238E27FC236}">
                <a16:creationId xmlns:a16="http://schemas.microsoft.com/office/drawing/2014/main" id="{C5018F96-B3E6-1C7C-503A-A6964F5B4827}"/>
              </a:ext>
            </a:extLst>
          </p:cNvPr>
          <p:cNvSpPr/>
          <p:nvPr/>
        </p:nvSpPr>
        <p:spPr>
          <a:xfrm>
            <a:off x="5972042" y="66798"/>
            <a:ext cx="3048000" cy="4886202"/>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accent6">
                    <a:lumMod val="60000"/>
                    <a:lumOff val="40000"/>
                  </a:schemeClr>
                </a:solidFill>
              </a:rPr>
              <a:t>Our Speaker today and our Sponsor:</a:t>
            </a:r>
          </a:p>
          <a:p>
            <a:pPr algn="ctr"/>
            <a:endParaRPr lang="en-US" sz="2000" b="1" dirty="0">
              <a:solidFill>
                <a:schemeClr val="bg1"/>
              </a:solidFill>
            </a:endParaRPr>
          </a:p>
          <a:p>
            <a:pPr algn="ctr"/>
            <a:r>
              <a:rPr lang="en-US" sz="2000" dirty="0"/>
              <a:t>D. Scott Sink, Ph.D., P.E.</a:t>
            </a:r>
          </a:p>
          <a:p>
            <a:pPr algn="ctr"/>
            <a:r>
              <a:rPr lang="en-US" sz="2000" dirty="0"/>
              <a:t>Senior Advisor</a:t>
            </a:r>
          </a:p>
          <a:p>
            <a:pPr algn="ctr"/>
            <a:r>
              <a:rPr lang="en-US" sz="2000" dirty="0"/>
              <a:t>The Poirier Group</a:t>
            </a:r>
          </a:p>
          <a:p>
            <a:pPr algn="ctr"/>
            <a:endParaRPr lang="en-US" sz="2000" dirty="0"/>
          </a:p>
          <a:p>
            <a:pPr algn="ctr"/>
            <a:endParaRPr lang="en-US" sz="2000" dirty="0"/>
          </a:p>
          <a:p>
            <a:pPr algn="ctr"/>
            <a:endParaRPr lang="en-US" sz="2000" dirty="0"/>
          </a:p>
          <a:p>
            <a:pPr algn="ctr"/>
            <a:endParaRPr lang="en-US" sz="2000" dirty="0"/>
          </a:p>
          <a:p>
            <a:pPr algn="ctr"/>
            <a:endParaRPr lang="en-US" sz="2000" dirty="0"/>
          </a:p>
          <a:p>
            <a:pPr algn="ctr"/>
            <a:endParaRPr lang="en-US" sz="2000" dirty="0"/>
          </a:p>
          <a:p>
            <a:pPr algn="ctr"/>
            <a:endParaRPr lang="en-US" sz="2000" dirty="0"/>
          </a:p>
        </p:txBody>
      </p:sp>
      <p:sp>
        <p:nvSpPr>
          <p:cNvPr id="16" name="Rectangle 15">
            <a:extLst>
              <a:ext uri="{FF2B5EF4-FFF2-40B4-BE49-F238E27FC236}">
                <a16:creationId xmlns:a16="http://schemas.microsoft.com/office/drawing/2014/main" id="{11CCDDD1-47EC-CB45-F196-95722069A30A}"/>
              </a:ext>
            </a:extLst>
          </p:cNvPr>
          <p:cNvSpPr/>
          <p:nvPr/>
        </p:nvSpPr>
        <p:spPr>
          <a:xfrm>
            <a:off x="76200" y="5094659"/>
            <a:ext cx="3124200" cy="17461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Text&#10;&#10;Description automatically generated">
            <a:extLst>
              <a:ext uri="{FF2B5EF4-FFF2-40B4-BE49-F238E27FC236}">
                <a16:creationId xmlns:a16="http://schemas.microsoft.com/office/drawing/2014/main" id="{3278AFBD-8904-291A-2A95-535DC0C61C7F}"/>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858000" y="5862339"/>
            <a:ext cx="2066748" cy="978505"/>
          </a:xfrm>
          <a:prstGeom prst="rect">
            <a:avLst/>
          </a:prstGeom>
        </p:spPr>
      </p:pic>
      <p:pic>
        <p:nvPicPr>
          <p:cNvPr id="8" name="Picture 7" descr="A picture containing text, outdoor, sign&#10;&#10;Description automatically generated">
            <a:extLst>
              <a:ext uri="{FF2B5EF4-FFF2-40B4-BE49-F238E27FC236}">
                <a16:creationId xmlns:a16="http://schemas.microsoft.com/office/drawing/2014/main" id="{25E45EB0-482D-D81E-8519-364A604371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332" y="5251479"/>
            <a:ext cx="3124200" cy="1171575"/>
          </a:xfrm>
          <a:prstGeom prst="rect">
            <a:avLst/>
          </a:prstGeom>
        </p:spPr>
      </p:pic>
      <p:sp>
        <p:nvSpPr>
          <p:cNvPr id="13" name="TextBox 12">
            <a:extLst>
              <a:ext uri="{FF2B5EF4-FFF2-40B4-BE49-F238E27FC236}">
                <a16:creationId xmlns:a16="http://schemas.microsoft.com/office/drawing/2014/main" id="{D541DAC8-5E3F-B4ED-FB9B-45E6479E107E}"/>
              </a:ext>
            </a:extLst>
          </p:cNvPr>
          <p:cNvSpPr txBox="1"/>
          <p:nvPr/>
        </p:nvSpPr>
        <p:spPr>
          <a:xfrm>
            <a:off x="6278951" y="2149779"/>
            <a:ext cx="2434181" cy="338554"/>
          </a:xfrm>
          <a:prstGeom prst="rect">
            <a:avLst/>
          </a:prstGeom>
          <a:noFill/>
        </p:spPr>
        <p:txBody>
          <a:bodyPr wrap="square" rtlCol="0">
            <a:spAutoFit/>
          </a:bodyPr>
          <a:lstStyle/>
          <a:p>
            <a:r>
              <a:rPr lang="en-US" sz="1600" dirty="0">
                <a:solidFill>
                  <a:srgbClr val="E47F00"/>
                </a:solidFill>
                <a:hlinkClick r:id="rId7">
                  <a:extLst>
                    <a:ext uri="{A12FA001-AC4F-418D-AE19-62706E023703}">
                      <ahyp:hlinkClr xmlns:ahyp="http://schemas.microsoft.com/office/drawing/2018/hyperlinkcolor" val="tx"/>
                    </a:ext>
                  </a:extLst>
                </a:hlinkClick>
              </a:rPr>
              <a:t>Scott Sink </a:t>
            </a:r>
            <a:r>
              <a:rPr lang="en-US" sz="1600" dirty="0" err="1">
                <a:solidFill>
                  <a:srgbClr val="E47F00"/>
                </a:solidFill>
                <a:hlinkClick r:id="rId7">
                  <a:extLst>
                    <a:ext uri="{A12FA001-AC4F-418D-AE19-62706E023703}">
                      <ahyp:hlinkClr xmlns:ahyp="http://schemas.microsoft.com/office/drawing/2018/hyperlinkcolor" val="tx"/>
                    </a:ext>
                  </a:extLst>
                </a:hlinkClick>
              </a:rPr>
              <a:t>Linkedin</a:t>
            </a:r>
            <a:r>
              <a:rPr lang="en-US" sz="1600" dirty="0">
                <a:solidFill>
                  <a:srgbClr val="E47F00"/>
                </a:solidFill>
                <a:hlinkClick r:id="rId7">
                  <a:extLst>
                    <a:ext uri="{A12FA001-AC4F-418D-AE19-62706E023703}">
                      <ahyp:hlinkClr xmlns:ahyp="http://schemas.microsoft.com/office/drawing/2018/hyperlinkcolor" val="tx"/>
                    </a:ext>
                  </a:extLst>
                </a:hlinkClick>
              </a:rPr>
              <a:t> page</a:t>
            </a:r>
            <a:endParaRPr lang="en-US" sz="1600" dirty="0">
              <a:solidFill>
                <a:srgbClr val="E47F00"/>
              </a:solidFill>
            </a:endParaRPr>
          </a:p>
        </p:txBody>
      </p:sp>
      <p:pic>
        <p:nvPicPr>
          <p:cNvPr id="9" name="Picture 8" descr="A picture containing text, font, graphics, screenshot&#10;&#10;Description automatically generated">
            <a:extLst>
              <a:ext uri="{FF2B5EF4-FFF2-40B4-BE49-F238E27FC236}">
                <a16:creationId xmlns:a16="http://schemas.microsoft.com/office/drawing/2014/main" id="{46755140-BD3E-5A69-9863-586A1EC8CAD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10154" y="3587024"/>
            <a:ext cx="2909888" cy="1161374"/>
          </a:xfrm>
          <a:prstGeom prst="rect">
            <a:avLst/>
          </a:prstGeom>
        </p:spPr>
      </p:pic>
    </p:spTree>
    <p:extLst>
      <p:ext uri="{BB962C8B-B14F-4D97-AF65-F5344CB8AC3E}">
        <p14:creationId xmlns:p14="http://schemas.microsoft.com/office/powerpoint/2010/main" val="3858186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C5E07-DB5B-55F2-6F01-6B61AC3D8F04}"/>
              </a:ext>
            </a:extLst>
          </p:cNvPr>
          <p:cNvSpPr>
            <a:spLocks noGrp="1"/>
          </p:cNvSpPr>
          <p:nvPr>
            <p:ph type="title"/>
          </p:nvPr>
        </p:nvSpPr>
        <p:spPr>
          <a:xfrm>
            <a:off x="12940" y="76200"/>
            <a:ext cx="6781800" cy="685800"/>
          </a:xfrm>
        </p:spPr>
        <p:txBody>
          <a:bodyPr/>
          <a:lstStyle/>
          <a:p>
            <a:r>
              <a:rPr lang="en-US" dirty="0"/>
              <a:t>You can’t do ‘good’ Analytics work and not be a good Systems Thinker</a:t>
            </a:r>
          </a:p>
        </p:txBody>
      </p:sp>
      <p:pic>
        <p:nvPicPr>
          <p:cNvPr id="5" name="Picture 2" descr="Image result for Systems Thinking images">
            <a:extLst>
              <a:ext uri="{FF2B5EF4-FFF2-40B4-BE49-F238E27FC236}">
                <a16:creationId xmlns:a16="http://schemas.microsoft.com/office/drawing/2014/main" id="{F6DFBB88-9AA1-772E-699D-81B09FF6AAF3}"/>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52400" y="974730"/>
            <a:ext cx="8839199" cy="5502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87833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538353" y="329180"/>
            <a:ext cx="7902319" cy="925125"/>
          </a:xfrm>
          <a:prstGeom prst="rect">
            <a:avLst/>
          </a:prstGeom>
        </p:spPr>
        <p:txBody>
          <a:bodyPr vert="horz" wrap="square" lIns="0" tIns="13335" rIns="0" bIns="0" rtlCol="0">
            <a:spAutoFit/>
          </a:bodyPr>
          <a:lstStyle/>
          <a:p>
            <a:pPr marL="12700">
              <a:lnSpc>
                <a:spcPts val="3650"/>
              </a:lnSpc>
              <a:spcBef>
                <a:spcPts val="105"/>
              </a:spcBef>
            </a:pPr>
            <a:r>
              <a:rPr sz="2400" b="0" spc="-40" dirty="0">
                <a:solidFill>
                  <a:srgbClr val="257AAB"/>
                </a:solidFill>
                <a:latin typeface="Segoe UI"/>
                <a:cs typeface="Segoe UI"/>
              </a:rPr>
              <a:t>ISE’s </a:t>
            </a:r>
            <a:r>
              <a:rPr sz="2400" b="0" spc="-10" dirty="0">
                <a:solidFill>
                  <a:srgbClr val="257AAB"/>
                </a:solidFill>
                <a:latin typeface="Segoe UI"/>
                <a:cs typeface="Segoe UI"/>
              </a:rPr>
              <a:t>Create </a:t>
            </a:r>
            <a:r>
              <a:rPr sz="2400" b="0" spc="-45" dirty="0">
                <a:solidFill>
                  <a:srgbClr val="257AAB"/>
                </a:solidFill>
                <a:latin typeface="Segoe UI"/>
                <a:cs typeface="Segoe UI"/>
              </a:rPr>
              <a:t>Value </a:t>
            </a:r>
            <a:r>
              <a:rPr sz="2400" b="0" dirty="0">
                <a:solidFill>
                  <a:srgbClr val="257AAB"/>
                </a:solidFill>
                <a:latin typeface="Segoe UI"/>
                <a:cs typeface="Segoe UI"/>
              </a:rPr>
              <a:t>by </a:t>
            </a:r>
            <a:r>
              <a:rPr sz="2400" b="0" spc="-5" dirty="0">
                <a:solidFill>
                  <a:srgbClr val="257AAB"/>
                </a:solidFill>
                <a:latin typeface="Segoe UI"/>
                <a:cs typeface="Segoe UI"/>
              </a:rPr>
              <a:t>Integrating</a:t>
            </a:r>
            <a:r>
              <a:rPr sz="2400" b="0" spc="45" dirty="0">
                <a:solidFill>
                  <a:srgbClr val="257AAB"/>
                </a:solidFill>
                <a:latin typeface="Segoe UI"/>
                <a:cs typeface="Segoe UI"/>
              </a:rPr>
              <a:t> </a:t>
            </a:r>
            <a:r>
              <a:rPr sz="2400" b="0" spc="-20" dirty="0">
                <a:solidFill>
                  <a:srgbClr val="257AAB"/>
                </a:solidFill>
                <a:latin typeface="Segoe UI"/>
                <a:cs typeface="Segoe UI"/>
              </a:rPr>
              <a:t>People,</a:t>
            </a:r>
            <a:endParaRPr sz="2400" dirty="0">
              <a:latin typeface="Segoe UI"/>
              <a:cs typeface="Segoe UI"/>
            </a:endParaRPr>
          </a:p>
          <a:p>
            <a:pPr marL="12700">
              <a:lnSpc>
                <a:spcPts val="3650"/>
              </a:lnSpc>
            </a:pPr>
            <a:r>
              <a:rPr sz="2400" b="0" spc="-35" dirty="0">
                <a:solidFill>
                  <a:srgbClr val="257AAB"/>
                </a:solidFill>
                <a:latin typeface="Segoe UI"/>
                <a:cs typeface="Segoe UI"/>
              </a:rPr>
              <a:t>Strategy, </a:t>
            </a:r>
            <a:r>
              <a:rPr sz="2400" b="0" spc="-10" dirty="0">
                <a:solidFill>
                  <a:srgbClr val="257AAB"/>
                </a:solidFill>
                <a:latin typeface="Segoe UI"/>
                <a:cs typeface="Segoe UI"/>
              </a:rPr>
              <a:t>Process </a:t>
            </a:r>
            <a:r>
              <a:rPr sz="2400" b="0" dirty="0">
                <a:solidFill>
                  <a:srgbClr val="257AAB"/>
                </a:solidFill>
                <a:latin typeface="Segoe UI"/>
                <a:cs typeface="Segoe UI"/>
              </a:rPr>
              <a:t>and</a:t>
            </a:r>
            <a:r>
              <a:rPr sz="2400" b="0" spc="10" dirty="0">
                <a:solidFill>
                  <a:srgbClr val="257AAB"/>
                </a:solidFill>
                <a:latin typeface="Segoe UI"/>
                <a:cs typeface="Segoe UI"/>
              </a:rPr>
              <a:t> </a:t>
            </a:r>
            <a:r>
              <a:rPr sz="2400" b="0" spc="-35" dirty="0">
                <a:solidFill>
                  <a:srgbClr val="257AAB"/>
                </a:solidFill>
                <a:latin typeface="Segoe UI"/>
                <a:cs typeface="Segoe UI"/>
              </a:rPr>
              <a:t>Technology</a:t>
            </a:r>
            <a:endParaRPr sz="2400" i="1" dirty="0">
              <a:latin typeface="Segoe UI"/>
              <a:cs typeface="Segoe UI"/>
            </a:endParaRPr>
          </a:p>
        </p:txBody>
      </p:sp>
      <p:sp>
        <p:nvSpPr>
          <p:cNvPr id="15" name="object 3">
            <a:extLst>
              <a:ext uri="{FF2B5EF4-FFF2-40B4-BE49-F238E27FC236}">
                <a16:creationId xmlns:a16="http://schemas.microsoft.com/office/drawing/2014/main" id="{6EF6D3BE-2B6F-4472-8352-9E420BC4C8F7}"/>
              </a:ext>
            </a:extLst>
          </p:cNvPr>
          <p:cNvSpPr txBox="1">
            <a:spLocks/>
          </p:cNvSpPr>
          <p:nvPr/>
        </p:nvSpPr>
        <p:spPr>
          <a:xfrm>
            <a:off x="5724599" y="944981"/>
            <a:ext cx="3511473" cy="1862498"/>
          </a:xfrm>
          <a:prstGeom prst="rect">
            <a:avLst/>
          </a:prstGeom>
        </p:spPr>
        <p:txBody>
          <a:bodyPr vert="horz" wrap="square" lIns="0" tIns="13335" rIns="0" bIns="0" rtlCol="0">
            <a:spAutoFit/>
          </a:bodyPr>
          <a:lstStyle>
            <a:lvl1pPr>
              <a:defRPr sz="5400" b="1" i="0">
                <a:solidFill>
                  <a:schemeClr val="bg1"/>
                </a:solidFill>
                <a:latin typeface="Garamond"/>
                <a:ea typeface="+mj-ea"/>
                <a:cs typeface="Garamond"/>
              </a:defRPr>
            </a:lvl1pPr>
          </a:lstStyle>
          <a:p>
            <a:pPr marL="12700">
              <a:lnSpc>
                <a:spcPts val="3650"/>
              </a:lnSpc>
              <a:spcBef>
                <a:spcPts val="105"/>
              </a:spcBef>
            </a:pPr>
            <a:r>
              <a:rPr lang="en-US" sz="2400" b="0" kern="0" spc="-40" dirty="0">
                <a:solidFill>
                  <a:schemeClr val="accent6">
                    <a:lumMod val="75000"/>
                  </a:schemeClr>
                </a:solidFill>
                <a:latin typeface="Segoe UI"/>
                <a:cs typeface="Segoe UI"/>
              </a:rPr>
              <a:t>Operational Analytics is the ‘central nervous system and brain’ behind this integration</a:t>
            </a:r>
            <a:endParaRPr lang="en-US" sz="2400" i="1" kern="0" dirty="0">
              <a:solidFill>
                <a:schemeClr val="accent6">
                  <a:lumMod val="75000"/>
                </a:schemeClr>
              </a:solidFill>
              <a:latin typeface="Segoe UI"/>
              <a:cs typeface="Segoe UI"/>
            </a:endParaRPr>
          </a:p>
        </p:txBody>
      </p:sp>
      <p:grpSp>
        <p:nvGrpSpPr>
          <p:cNvPr id="2" name="Group 1">
            <a:extLst>
              <a:ext uri="{FF2B5EF4-FFF2-40B4-BE49-F238E27FC236}">
                <a16:creationId xmlns:a16="http://schemas.microsoft.com/office/drawing/2014/main" id="{C9A2FD28-D2FB-485F-9BD0-FE58630E72A6}"/>
              </a:ext>
            </a:extLst>
          </p:cNvPr>
          <p:cNvGrpSpPr/>
          <p:nvPr/>
        </p:nvGrpSpPr>
        <p:grpSpPr>
          <a:xfrm>
            <a:off x="228600" y="1371600"/>
            <a:ext cx="7422464" cy="4889145"/>
            <a:chOff x="228600" y="1371600"/>
            <a:chExt cx="7422464" cy="4889145"/>
          </a:xfrm>
        </p:grpSpPr>
        <p:sp>
          <p:nvSpPr>
            <p:cNvPr id="4" name="object 4"/>
            <p:cNvSpPr txBox="1"/>
            <p:nvPr/>
          </p:nvSpPr>
          <p:spPr>
            <a:xfrm>
              <a:off x="7568514" y="6098185"/>
              <a:ext cx="8255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888888"/>
                  </a:solidFill>
                  <a:latin typeface="Times New Roman"/>
                  <a:cs typeface="Times New Roman"/>
                </a:rPr>
                <a:t>4</a:t>
              </a:r>
              <a:endParaRPr sz="900">
                <a:latin typeface="Times New Roman"/>
                <a:cs typeface="Times New Roman"/>
              </a:endParaRPr>
            </a:p>
          </p:txBody>
        </p:sp>
        <p:sp>
          <p:nvSpPr>
            <p:cNvPr id="5" name="object 5"/>
            <p:cNvSpPr/>
            <p:nvPr/>
          </p:nvSpPr>
          <p:spPr>
            <a:xfrm>
              <a:off x="1897583" y="1762375"/>
              <a:ext cx="4235196" cy="3843151"/>
            </a:xfrm>
            <a:prstGeom prst="rect">
              <a:avLst/>
            </a:prstGeom>
            <a:blipFill>
              <a:blip r:embed="rId2" cstate="print"/>
              <a:stretch>
                <a:fillRect/>
              </a:stretch>
            </a:blipFill>
          </p:spPr>
          <p:txBody>
            <a:bodyPr wrap="square" lIns="0" tIns="0" rIns="0" bIns="0" rtlCol="0"/>
            <a:lstStyle/>
            <a:p>
              <a:endParaRPr/>
            </a:p>
          </p:txBody>
        </p:sp>
        <p:sp>
          <p:nvSpPr>
            <p:cNvPr id="6" name="object 6"/>
            <p:cNvSpPr txBox="1"/>
            <p:nvPr/>
          </p:nvSpPr>
          <p:spPr>
            <a:xfrm>
              <a:off x="3696665" y="3538805"/>
              <a:ext cx="639445" cy="305435"/>
            </a:xfrm>
            <a:prstGeom prst="rect">
              <a:avLst/>
            </a:prstGeom>
          </p:spPr>
          <p:txBody>
            <a:bodyPr vert="horz" wrap="square" lIns="0" tIns="12700" rIns="0" bIns="0" rtlCol="0">
              <a:spAutoFit/>
            </a:bodyPr>
            <a:lstStyle/>
            <a:p>
              <a:pPr marL="12700">
                <a:lnSpc>
                  <a:spcPct val="100000"/>
                </a:lnSpc>
                <a:spcBef>
                  <a:spcPts val="100"/>
                </a:spcBef>
              </a:pPr>
              <a:r>
                <a:rPr sz="900" b="1" spc="-5" dirty="0">
                  <a:solidFill>
                    <a:srgbClr val="FFFFFF"/>
                  </a:solidFill>
                  <a:latin typeface="Calibri"/>
                  <a:cs typeface="Calibri"/>
                </a:rPr>
                <a:t>Performance</a:t>
              </a:r>
              <a:endParaRPr sz="900">
                <a:latin typeface="Calibri"/>
                <a:cs typeface="Calibri"/>
              </a:endParaRPr>
            </a:p>
            <a:p>
              <a:pPr marL="71755">
                <a:lnSpc>
                  <a:spcPct val="100000"/>
                </a:lnSpc>
                <a:spcBef>
                  <a:spcPts val="40"/>
                </a:spcBef>
              </a:pPr>
              <a:r>
                <a:rPr sz="900" b="1" spc="-5" dirty="0">
                  <a:solidFill>
                    <a:srgbClr val="FFFFFF"/>
                  </a:solidFill>
                  <a:latin typeface="Calibri"/>
                  <a:cs typeface="Calibri"/>
                </a:rPr>
                <a:t>Excellence</a:t>
              </a:r>
              <a:endParaRPr sz="900">
                <a:latin typeface="Calibri"/>
                <a:cs typeface="Calibri"/>
              </a:endParaRPr>
            </a:p>
          </p:txBody>
        </p:sp>
        <p:sp>
          <p:nvSpPr>
            <p:cNvPr id="7" name="object 7"/>
            <p:cNvSpPr txBox="1"/>
            <p:nvPr/>
          </p:nvSpPr>
          <p:spPr>
            <a:xfrm>
              <a:off x="5426024" y="3549143"/>
              <a:ext cx="504190" cy="208279"/>
            </a:xfrm>
            <a:prstGeom prst="rect">
              <a:avLst/>
            </a:prstGeom>
          </p:spPr>
          <p:txBody>
            <a:bodyPr vert="horz" wrap="square" lIns="0" tIns="12700" rIns="0" bIns="0" rtlCol="0">
              <a:spAutoFit/>
            </a:bodyPr>
            <a:lstStyle/>
            <a:p>
              <a:pPr marL="12700">
                <a:lnSpc>
                  <a:spcPct val="100000"/>
                </a:lnSpc>
                <a:spcBef>
                  <a:spcPts val="100"/>
                </a:spcBef>
              </a:pPr>
              <a:r>
                <a:rPr sz="1200" b="1" spc="-5" dirty="0">
                  <a:solidFill>
                    <a:srgbClr val="2D75B6"/>
                  </a:solidFill>
                  <a:latin typeface="Calibri"/>
                  <a:cs typeface="Calibri"/>
                </a:rPr>
                <a:t>P</a:t>
              </a:r>
              <a:r>
                <a:rPr sz="1200" b="1" spc="-10" dirty="0">
                  <a:solidFill>
                    <a:srgbClr val="2D75B6"/>
                  </a:solidFill>
                  <a:latin typeface="Calibri"/>
                  <a:cs typeface="Calibri"/>
                </a:rPr>
                <a:t>r</a:t>
              </a:r>
              <a:r>
                <a:rPr sz="1200" b="1" dirty="0">
                  <a:solidFill>
                    <a:srgbClr val="2D75B6"/>
                  </a:solidFill>
                  <a:latin typeface="Calibri"/>
                  <a:cs typeface="Calibri"/>
                </a:rPr>
                <a:t>oc</a:t>
              </a:r>
              <a:r>
                <a:rPr sz="1200" b="1" spc="-5" dirty="0">
                  <a:solidFill>
                    <a:srgbClr val="2D75B6"/>
                  </a:solidFill>
                  <a:latin typeface="Calibri"/>
                  <a:cs typeface="Calibri"/>
                </a:rPr>
                <a:t>e</a:t>
              </a:r>
              <a:r>
                <a:rPr sz="1200" b="1" dirty="0">
                  <a:solidFill>
                    <a:srgbClr val="2D75B6"/>
                  </a:solidFill>
                  <a:latin typeface="Calibri"/>
                  <a:cs typeface="Calibri"/>
                </a:rPr>
                <a:t>ss</a:t>
              </a:r>
              <a:endParaRPr sz="1200">
                <a:latin typeface="Calibri"/>
                <a:cs typeface="Calibri"/>
              </a:endParaRPr>
            </a:p>
          </p:txBody>
        </p:sp>
        <p:sp>
          <p:nvSpPr>
            <p:cNvPr id="8" name="object 8"/>
            <p:cNvSpPr txBox="1"/>
            <p:nvPr/>
          </p:nvSpPr>
          <p:spPr>
            <a:xfrm>
              <a:off x="2124405" y="3473578"/>
              <a:ext cx="458470" cy="208279"/>
            </a:xfrm>
            <a:prstGeom prst="rect">
              <a:avLst/>
            </a:prstGeom>
          </p:spPr>
          <p:txBody>
            <a:bodyPr vert="horz" wrap="square" lIns="0" tIns="12700" rIns="0" bIns="0" rtlCol="0">
              <a:spAutoFit/>
            </a:bodyPr>
            <a:lstStyle/>
            <a:p>
              <a:pPr marL="12700">
                <a:lnSpc>
                  <a:spcPct val="100000"/>
                </a:lnSpc>
                <a:spcBef>
                  <a:spcPts val="100"/>
                </a:spcBef>
              </a:pPr>
              <a:r>
                <a:rPr sz="1200" b="1" spc="-30" dirty="0">
                  <a:solidFill>
                    <a:srgbClr val="6FAC46"/>
                  </a:solidFill>
                  <a:latin typeface="Calibri"/>
                  <a:cs typeface="Calibri"/>
                </a:rPr>
                <a:t>P</a:t>
              </a:r>
              <a:r>
                <a:rPr sz="1200" b="1" spc="-5" dirty="0">
                  <a:solidFill>
                    <a:srgbClr val="6FAC46"/>
                  </a:solidFill>
                  <a:latin typeface="Calibri"/>
                  <a:cs typeface="Calibri"/>
                </a:rPr>
                <a:t>e</a:t>
              </a:r>
              <a:r>
                <a:rPr sz="1200" b="1" dirty="0">
                  <a:solidFill>
                    <a:srgbClr val="6FAC46"/>
                  </a:solidFill>
                  <a:latin typeface="Calibri"/>
                  <a:cs typeface="Calibri"/>
                </a:rPr>
                <a:t>o</a:t>
              </a:r>
              <a:r>
                <a:rPr sz="1200" b="1" spc="5" dirty="0">
                  <a:solidFill>
                    <a:srgbClr val="6FAC46"/>
                  </a:solidFill>
                  <a:latin typeface="Calibri"/>
                  <a:cs typeface="Calibri"/>
                </a:rPr>
                <a:t>p</a:t>
              </a:r>
              <a:r>
                <a:rPr sz="1200" b="1" dirty="0">
                  <a:solidFill>
                    <a:srgbClr val="6FAC46"/>
                  </a:solidFill>
                  <a:latin typeface="Calibri"/>
                  <a:cs typeface="Calibri"/>
                </a:rPr>
                <a:t>le</a:t>
              </a:r>
              <a:endParaRPr sz="1200">
                <a:latin typeface="Calibri"/>
                <a:cs typeface="Calibri"/>
              </a:endParaRPr>
            </a:p>
          </p:txBody>
        </p:sp>
        <p:sp>
          <p:nvSpPr>
            <p:cNvPr id="9" name="object 9"/>
            <p:cNvSpPr txBox="1"/>
            <p:nvPr/>
          </p:nvSpPr>
          <p:spPr>
            <a:xfrm>
              <a:off x="2722016" y="3195122"/>
              <a:ext cx="334010" cy="428322"/>
            </a:xfrm>
            <a:prstGeom prst="rect">
              <a:avLst/>
            </a:prstGeom>
            <a:solidFill>
              <a:schemeClr val="bg1"/>
            </a:solidFill>
          </p:spPr>
          <p:txBody>
            <a:bodyPr vert="horz" wrap="square" lIns="0" tIns="12700" rIns="0" bIns="0" rtlCol="0">
              <a:spAutoFit/>
            </a:bodyPr>
            <a:lstStyle/>
            <a:p>
              <a:pPr marL="12700">
                <a:lnSpc>
                  <a:spcPct val="100000"/>
                </a:lnSpc>
                <a:spcBef>
                  <a:spcPts val="100"/>
                </a:spcBef>
              </a:pPr>
              <a:r>
                <a:rPr lang="en-US" sz="900" spc="-5" dirty="0">
                  <a:latin typeface="Calibri"/>
                  <a:cs typeface="Calibri"/>
                </a:rPr>
                <a:t>Speed of Trust</a:t>
              </a:r>
              <a:endParaRPr sz="900" dirty="0">
                <a:latin typeface="Calibri"/>
                <a:cs typeface="Calibri"/>
              </a:endParaRPr>
            </a:p>
          </p:txBody>
        </p:sp>
        <p:sp>
          <p:nvSpPr>
            <p:cNvPr id="10" name="object 10"/>
            <p:cNvSpPr txBox="1"/>
            <p:nvPr/>
          </p:nvSpPr>
          <p:spPr>
            <a:xfrm>
              <a:off x="3406090" y="1371600"/>
              <a:ext cx="1193165" cy="1357630"/>
            </a:xfrm>
            <a:prstGeom prst="rect">
              <a:avLst/>
            </a:prstGeom>
          </p:spPr>
          <p:txBody>
            <a:bodyPr vert="horz" wrap="square" lIns="0" tIns="12700" rIns="0" bIns="0" rtlCol="0">
              <a:spAutoFit/>
            </a:bodyPr>
            <a:lstStyle/>
            <a:p>
              <a:pPr marL="12700" marR="5080" algn="ctr">
                <a:lnSpc>
                  <a:spcPct val="100000"/>
                </a:lnSpc>
                <a:spcBef>
                  <a:spcPts val="100"/>
                </a:spcBef>
              </a:pPr>
              <a:r>
                <a:rPr sz="1200" i="1" spc="-5" dirty="0">
                  <a:latin typeface="Calibri"/>
                  <a:cs typeface="Calibri"/>
                </a:rPr>
                <a:t>Enhancing the</a:t>
              </a:r>
              <a:r>
                <a:rPr sz="1200" i="1" spc="-80" dirty="0">
                  <a:latin typeface="Calibri"/>
                  <a:cs typeface="Calibri"/>
                </a:rPr>
                <a:t> </a:t>
              </a:r>
              <a:r>
                <a:rPr sz="1200" i="1" spc="-5" dirty="0">
                  <a:latin typeface="Calibri"/>
                  <a:cs typeface="Calibri"/>
                </a:rPr>
                <a:t>way  you think and</a:t>
              </a:r>
              <a:r>
                <a:rPr sz="1200" i="1" spc="-60" dirty="0">
                  <a:latin typeface="Calibri"/>
                  <a:cs typeface="Calibri"/>
                </a:rPr>
                <a:t> </a:t>
              </a:r>
              <a:r>
                <a:rPr sz="1200" i="1" spc="-5" dirty="0">
                  <a:latin typeface="Calibri"/>
                  <a:cs typeface="Calibri"/>
                </a:rPr>
                <a:t>plan</a:t>
              </a:r>
              <a:endParaRPr sz="1200" dirty="0">
                <a:latin typeface="Calibri"/>
                <a:cs typeface="Calibri"/>
              </a:endParaRPr>
            </a:p>
            <a:p>
              <a:pPr>
                <a:lnSpc>
                  <a:spcPct val="100000"/>
                </a:lnSpc>
              </a:pPr>
              <a:endParaRPr sz="1200" dirty="0">
                <a:latin typeface="Calibri"/>
                <a:cs typeface="Calibri"/>
              </a:endParaRPr>
            </a:p>
            <a:p>
              <a:pPr>
                <a:lnSpc>
                  <a:spcPct val="100000"/>
                </a:lnSpc>
                <a:spcBef>
                  <a:spcPts val="10"/>
                </a:spcBef>
              </a:pPr>
              <a:endParaRPr sz="1350" dirty="0">
                <a:latin typeface="Calibri"/>
                <a:cs typeface="Calibri"/>
              </a:endParaRPr>
            </a:p>
            <a:p>
              <a:pPr marL="26670" algn="ctr">
                <a:lnSpc>
                  <a:spcPct val="100000"/>
                </a:lnSpc>
              </a:pPr>
              <a:r>
                <a:rPr sz="1200" b="1" spc="-10" dirty="0">
                  <a:solidFill>
                    <a:srgbClr val="EC7C30"/>
                  </a:solidFill>
                  <a:latin typeface="Calibri"/>
                  <a:cs typeface="Calibri"/>
                </a:rPr>
                <a:t>Strategy</a:t>
              </a:r>
              <a:endParaRPr sz="1200" dirty="0">
                <a:latin typeface="Calibri"/>
                <a:cs typeface="Calibri"/>
              </a:endParaRPr>
            </a:p>
            <a:p>
              <a:pPr algn="ctr">
                <a:lnSpc>
                  <a:spcPct val="100000"/>
                </a:lnSpc>
                <a:spcBef>
                  <a:spcPts val="880"/>
                </a:spcBef>
              </a:pPr>
              <a:r>
                <a:rPr sz="900" spc="-5" dirty="0">
                  <a:latin typeface="Calibri"/>
                  <a:cs typeface="Calibri"/>
                </a:rPr>
                <a:t>Organizational</a:t>
              </a:r>
              <a:endParaRPr sz="900" dirty="0">
                <a:latin typeface="Calibri"/>
                <a:cs typeface="Calibri"/>
              </a:endParaRPr>
            </a:p>
            <a:p>
              <a:pPr algn="ctr">
                <a:lnSpc>
                  <a:spcPct val="100000"/>
                </a:lnSpc>
              </a:pPr>
              <a:r>
                <a:rPr sz="900" spc="-5" dirty="0">
                  <a:latin typeface="Calibri"/>
                  <a:cs typeface="Calibri"/>
                </a:rPr>
                <a:t>Alignment</a:t>
              </a:r>
              <a:endParaRPr sz="900" dirty="0">
                <a:latin typeface="Calibri"/>
                <a:cs typeface="Calibri"/>
              </a:endParaRPr>
            </a:p>
          </p:txBody>
        </p:sp>
        <p:sp>
          <p:nvSpPr>
            <p:cNvPr id="11" name="object 11"/>
            <p:cNvSpPr txBox="1"/>
            <p:nvPr/>
          </p:nvSpPr>
          <p:spPr>
            <a:xfrm>
              <a:off x="3140914" y="5347158"/>
              <a:ext cx="1873885" cy="814069"/>
            </a:xfrm>
            <a:prstGeom prst="rect">
              <a:avLst/>
            </a:prstGeom>
          </p:spPr>
          <p:txBody>
            <a:bodyPr vert="horz" wrap="square" lIns="0" tIns="40640" rIns="0" bIns="0" rtlCol="0">
              <a:spAutoFit/>
            </a:bodyPr>
            <a:lstStyle/>
            <a:p>
              <a:pPr algn="ctr">
                <a:lnSpc>
                  <a:spcPct val="100000"/>
                </a:lnSpc>
                <a:spcBef>
                  <a:spcPts val="320"/>
                </a:spcBef>
              </a:pPr>
              <a:r>
                <a:rPr sz="1200" b="1" spc="-15" dirty="0">
                  <a:solidFill>
                    <a:srgbClr val="6F2F9F"/>
                  </a:solidFill>
                  <a:latin typeface="Calibri"/>
                  <a:cs typeface="Calibri"/>
                </a:rPr>
                <a:t>Technology</a:t>
              </a:r>
              <a:endParaRPr sz="1200">
                <a:latin typeface="Calibri"/>
                <a:cs typeface="Calibri"/>
              </a:endParaRPr>
            </a:p>
            <a:p>
              <a:pPr marL="12700" marR="5080" algn="ctr">
                <a:lnSpc>
                  <a:spcPct val="100000"/>
                </a:lnSpc>
                <a:spcBef>
                  <a:spcPts val="225"/>
                </a:spcBef>
              </a:pPr>
              <a:r>
                <a:rPr sz="1200" i="1" spc="-5" dirty="0">
                  <a:latin typeface="Calibri"/>
                  <a:cs typeface="Calibri"/>
                </a:rPr>
                <a:t>Leveraging</a:t>
              </a:r>
              <a:r>
                <a:rPr sz="1200" i="1" spc="-45" dirty="0">
                  <a:latin typeface="Calibri"/>
                  <a:cs typeface="Calibri"/>
                </a:rPr>
                <a:t> </a:t>
              </a:r>
              <a:r>
                <a:rPr sz="1200" i="1" spc="-5" dirty="0">
                  <a:latin typeface="Calibri"/>
                  <a:cs typeface="Calibri"/>
                </a:rPr>
                <a:t>hyper-connectivity  and the full power of </a:t>
              </a:r>
              <a:r>
                <a:rPr sz="1200" i="1" dirty="0">
                  <a:latin typeface="Calibri"/>
                  <a:cs typeface="Calibri"/>
                </a:rPr>
                <a:t>IT  </a:t>
              </a:r>
              <a:r>
                <a:rPr sz="1200" i="1" spc="-5" dirty="0">
                  <a:latin typeface="Calibri"/>
                  <a:cs typeface="Calibri"/>
                </a:rPr>
                <a:t>Enablement</a:t>
              </a:r>
              <a:endParaRPr sz="1200">
                <a:latin typeface="Calibri"/>
                <a:cs typeface="Calibri"/>
              </a:endParaRPr>
            </a:p>
          </p:txBody>
        </p:sp>
        <p:sp>
          <p:nvSpPr>
            <p:cNvPr id="12" name="object 12"/>
            <p:cNvSpPr txBox="1"/>
            <p:nvPr/>
          </p:nvSpPr>
          <p:spPr>
            <a:xfrm>
              <a:off x="228600" y="3058415"/>
              <a:ext cx="1732280" cy="757555"/>
            </a:xfrm>
            <a:prstGeom prst="rect">
              <a:avLst/>
            </a:prstGeom>
          </p:spPr>
          <p:txBody>
            <a:bodyPr vert="horz" wrap="square" lIns="0" tIns="12700" rIns="0" bIns="0" rtlCol="0">
              <a:spAutoFit/>
            </a:bodyPr>
            <a:lstStyle/>
            <a:p>
              <a:pPr marL="12700" marR="5080" indent="635" algn="ctr">
                <a:lnSpc>
                  <a:spcPct val="100000"/>
                </a:lnSpc>
                <a:spcBef>
                  <a:spcPts val="100"/>
                </a:spcBef>
              </a:pPr>
              <a:r>
                <a:rPr sz="1200" i="1" spc="-5" dirty="0">
                  <a:latin typeface="Calibri"/>
                  <a:cs typeface="Calibri"/>
                </a:rPr>
                <a:t>Changing the way we  </a:t>
              </a:r>
              <a:r>
                <a:rPr sz="1200" i="1" spc="-10" dirty="0">
                  <a:latin typeface="Calibri"/>
                  <a:cs typeface="Calibri"/>
                </a:rPr>
                <a:t>exchange </a:t>
              </a:r>
              <a:r>
                <a:rPr sz="1200" i="1" spc="-5" dirty="0">
                  <a:latin typeface="Calibri"/>
                  <a:cs typeface="Calibri"/>
                </a:rPr>
                <a:t>value with our  employees and manage</a:t>
              </a:r>
              <a:r>
                <a:rPr sz="1200" i="1" spc="-50" dirty="0">
                  <a:latin typeface="Calibri"/>
                  <a:cs typeface="Calibri"/>
                </a:rPr>
                <a:t> </a:t>
              </a:r>
              <a:r>
                <a:rPr sz="1200" i="1" spc="-5" dirty="0">
                  <a:latin typeface="Calibri"/>
                  <a:cs typeface="Calibri"/>
                </a:rPr>
                <a:t>our  culture.</a:t>
              </a:r>
              <a:endParaRPr sz="1200">
                <a:latin typeface="Calibri"/>
                <a:cs typeface="Calibri"/>
              </a:endParaRPr>
            </a:p>
          </p:txBody>
        </p:sp>
        <p:sp>
          <p:nvSpPr>
            <p:cNvPr id="13" name="object 13"/>
            <p:cNvSpPr txBox="1"/>
            <p:nvPr/>
          </p:nvSpPr>
          <p:spPr>
            <a:xfrm>
              <a:off x="6034736" y="3237358"/>
              <a:ext cx="1342390" cy="208279"/>
            </a:xfrm>
            <a:prstGeom prst="rect">
              <a:avLst/>
            </a:prstGeom>
          </p:spPr>
          <p:txBody>
            <a:bodyPr vert="horz" wrap="square" lIns="0" tIns="12700" rIns="0" bIns="0" rtlCol="0">
              <a:spAutoFit/>
            </a:bodyPr>
            <a:lstStyle/>
            <a:p>
              <a:pPr marL="12700">
                <a:lnSpc>
                  <a:spcPct val="100000"/>
                </a:lnSpc>
                <a:spcBef>
                  <a:spcPts val="100"/>
                </a:spcBef>
              </a:pPr>
              <a:r>
                <a:rPr sz="1200" i="1" spc="-5" dirty="0">
                  <a:latin typeface="Calibri"/>
                  <a:cs typeface="Calibri"/>
                </a:rPr>
                <a:t>What we do and</a:t>
              </a:r>
              <a:r>
                <a:rPr sz="1200" i="1" spc="-60" dirty="0">
                  <a:latin typeface="Calibri"/>
                  <a:cs typeface="Calibri"/>
                </a:rPr>
                <a:t> </a:t>
              </a:r>
              <a:r>
                <a:rPr sz="1200" i="1" spc="-5" dirty="0">
                  <a:latin typeface="Calibri"/>
                  <a:cs typeface="Calibri"/>
                </a:rPr>
                <a:t>how</a:t>
              </a:r>
              <a:endParaRPr sz="1200">
                <a:latin typeface="Calibri"/>
                <a:cs typeface="Calibri"/>
              </a:endParaRPr>
            </a:p>
          </p:txBody>
        </p:sp>
        <p:sp>
          <p:nvSpPr>
            <p:cNvPr id="14" name="object 14"/>
            <p:cNvSpPr txBox="1"/>
            <p:nvPr/>
          </p:nvSpPr>
          <p:spPr>
            <a:xfrm>
              <a:off x="6107887" y="3420237"/>
              <a:ext cx="1195705" cy="208279"/>
            </a:xfrm>
            <a:prstGeom prst="rect">
              <a:avLst/>
            </a:prstGeom>
          </p:spPr>
          <p:txBody>
            <a:bodyPr vert="horz" wrap="square" lIns="0" tIns="12700" rIns="0" bIns="0" rtlCol="0">
              <a:spAutoFit/>
            </a:bodyPr>
            <a:lstStyle/>
            <a:p>
              <a:pPr marL="12700">
                <a:lnSpc>
                  <a:spcPct val="100000"/>
                </a:lnSpc>
                <a:spcBef>
                  <a:spcPts val="100"/>
                </a:spcBef>
              </a:pPr>
              <a:r>
                <a:rPr sz="1200" i="1" spc="-5" dirty="0">
                  <a:latin typeface="Calibri"/>
                  <a:cs typeface="Calibri"/>
                </a:rPr>
                <a:t>we do what we</a:t>
              </a:r>
              <a:r>
                <a:rPr sz="1200" i="1" spc="-40" dirty="0">
                  <a:latin typeface="Calibri"/>
                  <a:cs typeface="Calibri"/>
                </a:rPr>
                <a:t> </a:t>
              </a:r>
              <a:r>
                <a:rPr sz="1200" i="1" spc="-5" dirty="0">
                  <a:latin typeface="Calibri"/>
                  <a:cs typeface="Calibri"/>
                </a:rPr>
                <a:t>do.</a:t>
              </a:r>
              <a:endParaRPr sz="1200">
                <a:latin typeface="Calibri"/>
                <a:cs typeface="Calibri"/>
              </a:endParaRPr>
            </a:p>
          </p:txBody>
        </p:sp>
        <p:sp>
          <p:nvSpPr>
            <p:cNvPr id="16" name="object 9">
              <a:extLst>
                <a:ext uri="{FF2B5EF4-FFF2-40B4-BE49-F238E27FC236}">
                  <a16:creationId xmlns:a16="http://schemas.microsoft.com/office/drawing/2014/main" id="{A3E9FD3C-993D-41F4-A90C-6914C04FB636}"/>
                </a:ext>
              </a:extLst>
            </p:cNvPr>
            <p:cNvSpPr txBox="1"/>
            <p:nvPr/>
          </p:nvSpPr>
          <p:spPr>
            <a:xfrm>
              <a:off x="5006162" y="3360285"/>
              <a:ext cx="469596" cy="151323"/>
            </a:xfrm>
            <a:prstGeom prst="rect">
              <a:avLst/>
            </a:prstGeom>
            <a:solidFill>
              <a:schemeClr val="bg1"/>
            </a:solidFill>
          </p:spPr>
          <p:txBody>
            <a:bodyPr vert="horz" wrap="square" lIns="0" tIns="12700" rIns="0" bIns="0" rtlCol="0">
              <a:spAutoFit/>
            </a:bodyPr>
            <a:lstStyle/>
            <a:p>
              <a:pPr marL="12700">
                <a:lnSpc>
                  <a:spcPct val="100000"/>
                </a:lnSpc>
                <a:spcBef>
                  <a:spcPts val="100"/>
                </a:spcBef>
              </a:pPr>
              <a:r>
                <a:rPr lang="en-US" sz="900" spc="-5" dirty="0">
                  <a:latin typeface="Calibri"/>
                  <a:cs typeface="Calibri"/>
                </a:rPr>
                <a:t>Flow</a:t>
              </a:r>
              <a:endParaRPr sz="900" dirty="0">
                <a:latin typeface="Calibri"/>
                <a:cs typeface="Calibri"/>
              </a:endParaRPr>
            </a:p>
          </p:txBody>
        </p:sp>
        <p:sp>
          <p:nvSpPr>
            <p:cNvPr id="17" name="object 9">
              <a:extLst>
                <a:ext uri="{FF2B5EF4-FFF2-40B4-BE49-F238E27FC236}">
                  <a16:creationId xmlns:a16="http://schemas.microsoft.com/office/drawing/2014/main" id="{31148429-852C-44A5-93E2-C01128807CF9}"/>
                </a:ext>
              </a:extLst>
            </p:cNvPr>
            <p:cNvSpPr txBox="1"/>
            <p:nvPr/>
          </p:nvSpPr>
          <p:spPr>
            <a:xfrm>
              <a:off x="3753675" y="4694176"/>
              <a:ext cx="639444" cy="289823"/>
            </a:xfrm>
            <a:prstGeom prst="rect">
              <a:avLst/>
            </a:prstGeom>
            <a:solidFill>
              <a:schemeClr val="bg1"/>
            </a:solidFill>
          </p:spPr>
          <p:txBody>
            <a:bodyPr vert="horz" wrap="square" lIns="0" tIns="12700" rIns="0" bIns="0" rtlCol="0">
              <a:spAutoFit/>
            </a:bodyPr>
            <a:lstStyle/>
            <a:p>
              <a:pPr marL="12700">
                <a:lnSpc>
                  <a:spcPct val="100000"/>
                </a:lnSpc>
                <a:spcBef>
                  <a:spcPts val="100"/>
                </a:spcBef>
              </a:pPr>
              <a:r>
                <a:rPr lang="en-US" sz="900" spc="-5" dirty="0">
                  <a:latin typeface="Calibri"/>
                  <a:cs typeface="Calibri"/>
                </a:rPr>
                <a:t>Tech Acceleration</a:t>
              </a:r>
              <a:endParaRPr sz="900" dirty="0">
                <a:latin typeface="Calibri"/>
                <a:cs typeface="Calibri"/>
              </a:endParaRPr>
            </a:p>
          </p:txBody>
        </p:sp>
      </p:grpSp>
      <p:sp>
        <p:nvSpPr>
          <p:cNvPr id="18" name="object 3">
            <a:extLst>
              <a:ext uri="{FF2B5EF4-FFF2-40B4-BE49-F238E27FC236}">
                <a16:creationId xmlns:a16="http://schemas.microsoft.com/office/drawing/2014/main" id="{FD90947F-C779-4002-BC2A-8DBE60529208}"/>
              </a:ext>
            </a:extLst>
          </p:cNvPr>
          <p:cNvSpPr txBox="1">
            <a:spLocks/>
          </p:cNvSpPr>
          <p:nvPr/>
        </p:nvSpPr>
        <p:spPr>
          <a:xfrm>
            <a:off x="5490680" y="4666322"/>
            <a:ext cx="3511473" cy="1862498"/>
          </a:xfrm>
          <a:prstGeom prst="rect">
            <a:avLst/>
          </a:prstGeom>
        </p:spPr>
        <p:txBody>
          <a:bodyPr vert="horz" wrap="square" lIns="0" tIns="13335" rIns="0" bIns="0" rtlCol="0">
            <a:spAutoFit/>
          </a:bodyPr>
          <a:lstStyle>
            <a:lvl1pPr>
              <a:defRPr sz="5400" b="1" i="0">
                <a:solidFill>
                  <a:schemeClr val="bg1"/>
                </a:solidFill>
                <a:latin typeface="Garamond"/>
                <a:ea typeface="+mj-ea"/>
                <a:cs typeface="Garamond"/>
              </a:defRPr>
            </a:lvl1pPr>
          </a:lstStyle>
          <a:p>
            <a:pPr marL="12700">
              <a:lnSpc>
                <a:spcPts val="3650"/>
              </a:lnSpc>
              <a:spcBef>
                <a:spcPts val="105"/>
              </a:spcBef>
            </a:pPr>
            <a:r>
              <a:rPr lang="en-US" sz="2400" b="0" kern="0" spc="-40" dirty="0">
                <a:solidFill>
                  <a:schemeClr val="accent6">
                    <a:lumMod val="75000"/>
                  </a:schemeClr>
                </a:solidFill>
                <a:latin typeface="Segoe UI"/>
                <a:cs typeface="Segoe UI"/>
              </a:rPr>
              <a:t>The Analyst Role is a rapidly growing and critical to success function in Op Excellence.</a:t>
            </a:r>
            <a:endParaRPr lang="en-US" sz="2400" i="1" kern="0" dirty="0">
              <a:solidFill>
                <a:schemeClr val="accent6">
                  <a:lumMod val="75000"/>
                </a:schemeClr>
              </a:solidFill>
              <a:latin typeface="Segoe UI"/>
              <a:cs typeface="Segoe UI"/>
            </a:endParaRPr>
          </a:p>
        </p:txBody>
      </p:sp>
    </p:spTree>
    <p:extLst>
      <p:ext uri="{BB962C8B-B14F-4D97-AF65-F5344CB8AC3E}">
        <p14:creationId xmlns:p14="http://schemas.microsoft.com/office/powerpoint/2010/main" val="40597283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C7629B-6886-495B-B516-48C88532A936}"/>
              </a:ext>
            </a:extLst>
          </p:cNvPr>
          <p:cNvSpPr>
            <a:spLocks noGrp="1"/>
          </p:cNvSpPr>
          <p:nvPr>
            <p:ph type="title"/>
          </p:nvPr>
        </p:nvSpPr>
        <p:spPr>
          <a:xfrm>
            <a:off x="250826" y="119656"/>
            <a:ext cx="8664574" cy="1325563"/>
          </a:xfrm>
        </p:spPr>
        <p:txBody>
          <a:bodyPr>
            <a:normAutofit fontScale="90000"/>
          </a:bodyPr>
          <a:lstStyle/>
          <a:p>
            <a:r>
              <a:rPr lang="en-US" sz="3100" dirty="0"/>
              <a:t>Operational Analytics Begins with the End in Mind</a:t>
            </a:r>
            <a:br>
              <a:rPr lang="en-US" dirty="0"/>
            </a:br>
            <a:r>
              <a:rPr lang="en-US" dirty="0"/>
              <a:t>End Game:  </a:t>
            </a:r>
            <a:r>
              <a:rPr lang="en-US" b="1" dirty="0"/>
              <a:t>Grow Enterprise Value</a:t>
            </a:r>
          </a:p>
        </p:txBody>
      </p:sp>
      <p:pic>
        <p:nvPicPr>
          <p:cNvPr id="11" name="Content Placeholder 10" descr="A picture containing timeline&#10;&#10;Description automatically generated">
            <a:extLst>
              <a:ext uri="{FF2B5EF4-FFF2-40B4-BE49-F238E27FC236}">
                <a16:creationId xmlns:a16="http://schemas.microsoft.com/office/drawing/2014/main" id="{572894F3-6F17-483C-9A41-85DF83C48F80}"/>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250826" y="1447800"/>
            <a:ext cx="8664574" cy="5029200"/>
          </a:xfrm>
        </p:spPr>
      </p:pic>
    </p:spTree>
    <p:extLst>
      <p:ext uri="{BB962C8B-B14F-4D97-AF65-F5344CB8AC3E}">
        <p14:creationId xmlns:p14="http://schemas.microsoft.com/office/powerpoint/2010/main" val="21057684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3"/>
          <p:cNvSpPr txBox="1">
            <a:spLocks noChangeArrowheads="1"/>
          </p:cNvSpPr>
          <p:nvPr/>
        </p:nvSpPr>
        <p:spPr bwMode="auto">
          <a:xfrm>
            <a:off x="596106" y="3554413"/>
            <a:ext cx="2152650" cy="200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dirty="0">
                <a:solidFill>
                  <a:srgbClr val="000000"/>
                </a:solidFill>
                <a:cs typeface="+mn-cs"/>
              </a:rPr>
              <a:t>Improve Positioning via..</a:t>
            </a: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2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r>
              <a:rPr lang="en-US" sz="1400" b="1" dirty="0">
                <a:solidFill>
                  <a:srgbClr val="000000"/>
                </a:solidFill>
                <a:cs typeface="+mn-cs"/>
              </a:rPr>
              <a:t>Geographic Coverage / Offerings Provided / Served Segments / Branding/ Imaging, etc.</a:t>
            </a:r>
            <a:endParaRPr lang="en-US" sz="1400" dirty="0">
              <a:solidFill>
                <a:srgbClr val="000000"/>
              </a:solidFill>
              <a:cs typeface="+mn-cs"/>
            </a:endParaRPr>
          </a:p>
        </p:txBody>
      </p:sp>
      <p:sp>
        <p:nvSpPr>
          <p:cNvPr id="31748" name="Text Box 4"/>
          <p:cNvSpPr txBox="1">
            <a:spLocks noChangeArrowheads="1"/>
          </p:cNvSpPr>
          <p:nvPr/>
        </p:nvSpPr>
        <p:spPr bwMode="auto">
          <a:xfrm>
            <a:off x="3585086" y="3461543"/>
            <a:ext cx="2743200"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dirty="0">
                <a:solidFill>
                  <a:srgbClr val="000000"/>
                </a:solidFill>
              </a:rPr>
              <a:t>Managing the Exchange of Value</a:t>
            </a:r>
          </a:p>
          <a:p>
            <a:pPr algn="ctr" eaLnBrk="0" hangingPunct="0">
              <a:defRPr/>
            </a:pPr>
            <a:r>
              <a:rPr lang="en-US" sz="1400" b="1" dirty="0">
                <a:solidFill>
                  <a:srgbClr val="000000"/>
                </a:solidFill>
                <a:cs typeface="+mn-cs"/>
              </a:rPr>
              <a:t>With Stakeholders</a:t>
            </a:r>
            <a:endParaRPr lang="en-US" sz="12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r>
              <a:rPr lang="en-US" sz="1400" b="1" dirty="0">
                <a:solidFill>
                  <a:srgbClr val="000000"/>
                </a:solidFill>
              </a:rPr>
              <a:t>Altering the Give/Get, </a:t>
            </a:r>
          </a:p>
          <a:p>
            <a:pPr algn="ctr" eaLnBrk="0" hangingPunct="0">
              <a:defRPr/>
            </a:pPr>
            <a:r>
              <a:rPr lang="en-US" sz="1400" b="1" dirty="0">
                <a:solidFill>
                  <a:srgbClr val="000000"/>
                </a:solidFill>
                <a:cs typeface="+mn-cs"/>
              </a:rPr>
              <a:t>Responding to unmet and unfulfilled needs, QFD, Innovation, Rebalancing Segment</a:t>
            </a:r>
          </a:p>
          <a:p>
            <a:pPr algn="ctr" eaLnBrk="0" hangingPunct="0">
              <a:defRPr/>
            </a:pPr>
            <a:r>
              <a:rPr lang="en-US" sz="1400" b="1" dirty="0">
                <a:solidFill>
                  <a:srgbClr val="000000"/>
                </a:solidFill>
              </a:rPr>
              <a:t>Investment</a:t>
            </a:r>
            <a:endParaRPr lang="en-US" sz="1400" b="1" dirty="0">
              <a:solidFill>
                <a:srgbClr val="000000"/>
              </a:solidFill>
              <a:cs typeface="+mn-cs"/>
            </a:endParaRPr>
          </a:p>
        </p:txBody>
      </p:sp>
      <p:sp>
        <p:nvSpPr>
          <p:cNvPr id="31749" name="Text Box 5"/>
          <p:cNvSpPr txBox="1">
            <a:spLocks noChangeArrowheads="1"/>
          </p:cNvSpPr>
          <p:nvPr/>
        </p:nvSpPr>
        <p:spPr bwMode="auto">
          <a:xfrm>
            <a:off x="6434137" y="3489439"/>
            <a:ext cx="2657475"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dirty="0">
                <a:solidFill>
                  <a:srgbClr val="000000"/>
                </a:solidFill>
                <a:cs typeface="+mn-cs"/>
              </a:rPr>
              <a:t>Improve Quality, Efficiency,</a:t>
            </a:r>
          </a:p>
          <a:p>
            <a:pPr algn="ctr" eaLnBrk="0" hangingPunct="0">
              <a:defRPr/>
            </a:pPr>
            <a:r>
              <a:rPr lang="en-US" sz="1400" b="1" dirty="0">
                <a:solidFill>
                  <a:srgbClr val="000000"/>
                </a:solidFill>
              </a:rPr>
              <a:t>Productivity, Innovation, Engagement, Quality of Work life, Sustainability</a:t>
            </a:r>
            <a:endParaRPr lang="en-US" sz="12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r>
              <a:rPr lang="en-US" sz="1400" b="1" dirty="0">
                <a:solidFill>
                  <a:srgbClr val="000000"/>
                </a:solidFill>
                <a:cs typeface="+mn-cs"/>
              </a:rPr>
              <a:t>Apply principles and methods of ISE and ILSS</a:t>
            </a:r>
          </a:p>
        </p:txBody>
      </p:sp>
      <p:sp>
        <p:nvSpPr>
          <p:cNvPr id="31750" name="AutoShape 6"/>
          <p:cNvSpPr>
            <a:spLocks noChangeArrowheads="1"/>
          </p:cNvSpPr>
          <p:nvPr/>
        </p:nvSpPr>
        <p:spPr bwMode="auto">
          <a:xfrm>
            <a:off x="1390965" y="4106773"/>
            <a:ext cx="366712" cy="279400"/>
          </a:xfrm>
          <a:prstGeom prst="downArrow">
            <a:avLst>
              <a:gd name="adj1" fmla="val 44065"/>
              <a:gd name="adj2" fmla="val 45556"/>
            </a:avLst>
          </a:prstGeom>
          <a:solidFill>
            <a:schemeClr val="tx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1" name="AutoShape 7"/>
          <p:cNvSpPr>
            <a:spLocks noChangeArrowheads="1"/>
          </p:cNvSpPr>
          <p:nvPr/>
        </p:nvSpPr>
        <p:spPr bwMode="auto">
          <a:xfrm>
            <a:off x="4732337" y="4106233"/>
            <a:ext cx="368300" cy="279400"/>
          </a:xfrm>
          <a:prstGeom prst="downArrow">
            <a:avLst>
              <a:gd name="adj1" fmla="val 44065"/>
              <a:gd name="adj2" fmla="val 45556"/>
            </a:avLst>
          </a:prstGeom>
          <a:solidFill>
            <a:schemeClr val="tx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2" name="AutoShape 8"/>
          <p:cNvSpPr>
            <a:spLocks noChangeArrowheads="1"/>
          </p:cNvSpPr>
          <p:nvPr/>
        </p:nvSpPr>
        <p:spPr bwMode="auto">
          <a:xfrm>
            <a:off x="7558060" y="4546600"/>
            <a:ext cx="368300" cy="279400"/>
          </a:xfrm>
          <a:prstGeom prst="downArrow">
            <a:avLst>
              <a:gd name="adj1" fmla="val 44065"/>
              <a:gd name="adj2" fmla="val 45556"/>
            </a:avLst>
          </a:prstGeom>
          <a:solidFill>
            <a:schemeClr val="tx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93225" name="Rectangle 9"/>
          <p:cNvSpPr>
            <a:spLocks noGrp="1" noChangeArrowheads="1"/>
          </p:cNvSpPr>
          <p:nvPr>
            <p:ph type="title"/>
          </p:nvPr>
        </p:nvSpPr>
        <p:spPr>
          <a:xfrm>
            <a:off x="704850" y="41274"/>
            <a:ext cx="7886700" cy="1325563"/>
          </a:xfrm>
          <a:solidFill>
            <a:schemeClr val="bg1"/>
          </a:solidFill>
        </p:spPr>
        <p:txBody>
          <a:bodyPr>
            <a:normAutofit/>
          </a:bodyPr>
          <a:lstStyle/>
          <a:p>
            <a:pPr>
              <a:defRPr/>
            </a:pPr>
            <a:r>
              <a:rPr lang="en-US" sz="3600" dirty="0">
                <a:solidFill>
                  <a:schemeClr val="accent2">
                    <a:lumMod val="50000"/>
                  </a:schemeClr>
                </a:solidFill>
              </a:rPr>
              <a:t>END GAME:  Grow Enterprise Value</a:t>
            </a:r>
          </a:p>
        </p:txBody>
      </p:sp>
      <p:sp>
        <p:nvSpPr>
          <p:cNvPr id="31754" name="AutoShape 10"/>
          <p:cNvSpPr>
            <a:spLocks noChangeArrowheads="1"/>
          </p:cNvSpPr>
          <p:nvPr/>
        </p:nvSpPr>
        <p:spPr bwMode="auto">
          <a:xfrm>
            <a:off x="4378325" y="1908175"/>
            <a:ext cx="1444625" cy="1444625"/>
          </a:xfrm>
          <a:prstGeom prst="cube">
            <a:avLst>
              <a:gd name="adj" fmla="val 25000"/>
            </a:avLst>
          </a:prstGeom>
          <a:solidFill>
            <a:schemeClr val="bg1"/>
          </a:solidFill>
          <a:ln w="12700">
            <a:solidFill>
              <a:schemeClr val="tx1"/>
            </a:solidFill>
            <a:prstDash val="dash"/>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5" name="AutoShape 11"/>
          <p:cNvSpPr>
            <a:spLocks noChangeArrowheads="1"/>
          </p:cNvSpPr>
          <p:nvPr/>
        </p:nvSpPr>
        <p:spPr bwMode="auto">
          <a:xfrm>
            <a:off x="228600" y="2598738"/>
            <a:ext cx="757238" cy="757237"/>
          </a:xfrm>
          <a:prstGeom prst="cube">
            <a:avLst>
              <a:gd name="adj" fmla="val 25000"/>
            </a:avLst>
          </a:prstGeom>
          <a:solidFill>
            <a:schemeClr val="bg1"/>
          </a:solidFill>
          <a:ln w="12700">
            <a:solidFill>
              <a:schemeClr val="tx1"/>
            </a:solidFill>
            <a:prstDash val="dash"/>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6" name="AutoShape 12"/>
          <p:cNvSpPr>
            <a:spLocks noChangeArrowheads="1"/>
          </p:cNvSpPr>
          <p:nvPr/>
        </p:nvSpPr>
        <p:spPr bwMode="auto">
          <a:xfrm>
            <a:off x="1468438" y="1908175"/>
            <a:ext cx="1444625" cy="1444625"/>
          </a:xfrm>
          <a:prstGeom prst="cube">
            <a:avLst>
              <a:gd name="adj" fmla="val 25000"/>
            </a:avLst>
          </a:prstGeom>
          <a:solidFill>
            <a:schemeClr val="bg1"/>
          </a:solidFill>
          <a:ln w="12700">
            <a:solidFill>
              <a:schemeClr val="tx1"/>
            </a:solidFill>
            <a:prstDash val="dash"/>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7" name="AutoShape 13"/>
          <p:cNvSpPr>
            <a:spLocks noChangeArrowheads="1"/>
          </p:cNvSpPr>
          <p:nvPr/>
        </p:nvSpPr>
        <p:spPr bwMode="auto">
          <a:xfrm>
            <a:off x="3124200" y="2541588"/>
            <a:ext cx="488950" cy="485775"/>
          </a:xfrm>
          <a:prstGeom prst="plus">
            <a:avLst>
              <a:gd name="adj" fmla="val 41713"/>
            </a:avLst>
          </a:prstGeom>
          <a:solidFill>
            <a:schemeClr val="tx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8" name="AutoShape 14"/>
          <p:cNvSpPr>
            <a:spLocks noChangeArrowheads="1"/>
          </p:cNvSpPr>
          <p:nvPr/>
        </p:nvSpPr>
        <p:spPr bwMode="auto">
          <a:xfrm>
            <a:off x="6415088" y="2541588"/>
            <a:ext cx="488950" cy="485775"/>
          </a:xfrm>
          <a:prstGeom prst="plus">
            <a:avLst>
              <a:gd name="adj" fmla="val 41713"/>
            </a:avLst>
          </a:prstGeom>
          <a:solidFill>
            <a:schemeClr val="tx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9" name="Line 15"/>
          <p:cNvSpPr>
            <a:spLocks noChangeShapeType="1"/>
          </p:cNvSpPr>
          <p:nvPr/>
        </p:nvSpPr>
        <p:spPr bwMode="auto">
          <a:xfrm>
            <a:off x="1108075" y="2998788"/>
            <a:ext cx="257175" cy="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sp>
        <p:nvSpPr>
          <p:cNvPr id="31760" name="Freeform 16"/>
          <p:cNvSpPr>
            <a:spLocks/>
          </p:cNvSpPr>
          <p:nvPr/>
        </p:nvSpPr>
        <p:spPr bwMode="auto">
          <a:xfrm>
            <a:off x="419100" y="2597150"/>
            <a:ext cx="571500" cy="566738"/>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61" name="AutoShape 17"/>
          <p:cNvSpPr>
            <a:spLocks noChangeAspect="1" noChangeArrowheads="1"/>
          </p:cNvSpPr>
          <p:nvPr/>
        </p:nvSpPr>
        <p:spPr bwMode="auto">
          <a:xfrm>
            <a:off x="228600" y="2978150"/>
            <a:ext cx="374650" cy="374650"/>
          </a:xfrm>
          <a:prstGeom prst="cube">
            <a:avLst>
              <a:gd name="adj" fmla="val 25000"/>
            </a:avLst>
          </a:prstGeom>
          <a:solidFill>
            <a:schemeClr val="accent2"/>
          </a:solidFill>
          <a:ln w="12700">
            <a:solidFill>
              <a:schemeClr val="tx1"/>
            </a:solidFill>
            <a:miter lim="800000"/>
            <a:headEnd type="none" w="sm" len="sm"/>
            <a:tailEnd type="none" w="sm" len="sm"/>
          </a:ln>
        </p:spPr>
        <p:txBody>
          <a:bodyPr wrap="none" anchor="ctr"/>
          <a:lstStyle/>
          <a:p>
            <a:pPr algn="ctr" eaLnBrk="0" hangingPunct="0">
              <a:defRPr/>
            </a:pPr>
            <a:r>
              <a:rPr lang="en-US" sz="1000">
                <a:solidFill>
                  <a:srgbClr val="FFFFFF"/>
                </a:solidFill>
                <a:latin typeface="Times"/>
                <a:cs typeface="+mn-cs"/>
              </a:rPr>
              <a:t>1x</a:t>
            </a:r>
          </a:p>
        </p:txBody>
      </p:sp>
      <p:sp>
        <p:nvSpPr>
          <p:cNvPr id="31762" name="Freeform 18"/>
          <p:cNvSpPr>
            <a:spLocks/>
          </p:cNvSpPr>
          <p:nvPr/>
        </p:nvSpPr>
        <p:spPr bwMode="auto">
          <a:xfrm>
            <a:off x="1828800" y="1911350"/>
            <a:ext cx="1090613" cy="1081088"/>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63" name="Line 19"/>
          <p:cNvSpPr>
            <a:spLocks noChangeShapeType="1"/>
          </p:cNvSpPr>
          <p:nvPr/>
        </p:nvSpPr>
        <p:spPr bwMode="auto">
          <a:xfrm flipH="1">
            <a:off x="1516063" y="2998788"/>
            <a:ext cx="312737" cy="312737"/>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sp>
        <p:nvSpPr>
          <p:cNvPr id="31764" name="AutoShape 20"/>
          <p:cNvSpPr>
            <a:spLocks noChangeAspect="1" noChangeArrowheads="1"/>
          </p:cNvSpPr>
          <p:nvPr/>
        </p:nvSpPr>
        <p:spPr bwMode="auto">
          <a:xfrm>
            <a:off x="1465263" y="2755900"/>
            <a:ext cx="603250" cy="603250"/>
          </a:xfrm>
          <a:prstGeom prst="cube">
            <a:avLst>
              <a:gd name="adj" fmla="val 25000"/>
            </a:avLst>
          </a:prstGeom>
          <a:solidFill>
            <a:schemeClr val="accent2"/>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65" name="Freeform 21"/>
          <p:cNvSpPr>
            <a:spLocks/>
          </p:cNvSpPr>
          <p:nvPr/>
        </p:nvSpPr>
        <p:spPr bwMode="auto">
          <a:xfrm>
            <a:off x="4737100" y="1911350"/>
            <a:ext cx="1090613" cy="1081088"/>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66" name="AutoShape 22"/>
          <p:cNvSpPr>
            <a:spLocks noChangeArrowheads="1"/>
          </p:cNvSpPr>
          <p:nvPr/>
        </p:nvSpPr>
        <p:spPr bwMode="auto">
          <a:xfrm>
            <a:off x="4378325" y="2598738"/>
            <a:ext cx="757238" cy="757237"/>
          </a:xfrm>
          <a:prstGeom prst="cube">
            <a:avLst>
              <a:gd name="adj" fmla="val 25000"/>
            </a:avLst>
          </a:prstGeom>
          <a:solidFill>
            <a:srgbClr val="DDDDDD"/>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67" name="Line 23"/>
          <p:cNvSpPr>
            <a:spLocks noChangeShapeType="1"/>
          </p:cNvSpPr>
          <p:nvPr/>
        </p:nvSpPr>
        <p:spPr bwMode="auto">
          <a:xfrm flipV="1">
            <a:off x="4603750" y="2813050"/>
            <a:ext cx="323850" cy="322263"/>
          </a:xfrm>
          <a:prstGeom prst="line">
            <a:avLst/>
          </a:prstGeom>
          <a:noFill/>
          <a:ln w="1905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sp>
        <p:nvSpPr>
          <p:cNvPr id="31768" name="Freeform 24"/>
          <p:cNvSpPr>
            <a:spLocks/>
          </p:cNvSpPr>
          <p:nvPr/>
        </p:nvSpPr>
        <p:spPr bwMode="auto">
          <a:xfrm>
            <a:off x="4564063" y="2597150"/>
            <a:ext cx="571500" cy="566738"/>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69" name="AutoShape 25"/>
          <p:cNvSpPr>
            <a:spLocks noChangeArrowheads="1"/>
          </p:cNvSpPr>
          <p:nvPr/>
        </p:nvSpPr>
        <p:spPr bwMode="auto">
          <a:xfrm>
            <a:off x="4378325" y="3116263"/>
            <a:ext cx="241300" cy="239712"/>
          </a:xfrm>
          <a:prstGeom prst="cube">
            <a:avLst>
              <a:gd name="adj" fmla="val 25000"/>
            </a:avLst>
          </a:prstGeom>
          <a:solidFill>
            <a:schemeClr val="accent2"/>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70" name="Text Box 26"/>
          <p:cNvSpPr txBox="1">
            <a:spLocks noChangeArrowheads="1"/>
          </p:cNvSpPr>
          <p:nvPr/>
        </p:nvSpPr>
        <p:spPr bwMode="auto">
          <a:xfrm>
            <a:off x="457200" y="1371600"/>
            <a:ext cx="23669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a:solidFill>
                  <a:srgbClr val="000000"/>
                </a:solidFill>
                <a:cs typeface="+mn-cs"/>
              </a:rPr>
              <a:t>POSITIONING STRATEGY</a:t>
            </a:r>
          </a:p>
        </p:txBody>
      </p:sp>
      <p:sp>
        <p:nvSpPr>
          <p:cNvPr id="31771" name="Text Box 27"/>
          <p:cNvSpPr txBox="1">
            <a:spLocks noChangeArrowheads="1"/>
          </p:cNvSpPr>
          <p:nvPr/>
        </p:nvSpPr>
        <p:spPr bwMode="auto">
          <a:xfrm>
            <a:off x="4099576" y="1295400"/>
            <a:ext cx="187512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dirty="0">
                <a:solidFill>
                  <a:srgbClr val="000000"/>
                </a:solidFill>
                <a:cs typeface="+mn-cs"/>
              </a:rPr>
              <a:t>VALUE EXCHANGE</a:t>
            </a:r>
          </a:p>
          <a:p>
            <a:pPr algn="ctr" eaLnBrk="0" hangingPunct="0">
              <a:defRPr/>
            </a:pPr>
            <a:r>
              <a:rPr lang="en-US" sz="1400" b="1" dirty="0">
                <a:solidFill>
                  <a:srgbClr val="000000"/>
                </a:solidFill>
              </a:rPr>
              <a:t>OPTIMIZATION</a:t>
            </a:r>
            <a:endParaRPr lang="en-US" sz="1400" b="1" dirty="0">
              <a:solidFill>
                <a:srgbClr val="000000"/>
              </a:solidFill>
              <a:cs typeface="+mn-cs"/>
            </a:endParaRPr>
          </a:p>
        </p:txBody>
      </p:sp>
      <p:sp>
        <p:nvSpPr>
          <p:cNvPr id="31772" name="Text Box 28"/>
          <p:cNvSpPr txBox="1">
            <a:spLocks noChangeArrowheads="1"/>
          </p:cNvSpPr>
          <p:nvPr/>
        </p:nvSpPr>
        <p:spPr bwMode="auto">
          <a:xfrm>
            <a:off x="7206397" y="1371600"/>
            <a:ext cx="15098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dirty="0">
                <a:solidFill>
                  <a:srgbClr val="000000"/>
                </a:solidFill>
                <a:cs typeface="+mn-cs"/>
              </a:rPr>
              <a:t>OPERATIONAL</a:t>
            </a:r>
          </a:p>
          <a:p>
            <a:pPr algn="ctr" eaLnBrk="0" hangingPunct="0">
              <a:defRPr/>
            </a:pPr>
            <a:r>
              <a:rPr lang="en-US" sz="1400" b="1" dirty="0">
                <a:solidFill>
                  <a:srgbClr val="000000"/>
                </a:solidFill>
              </a:rPr>
              <a:t>EXCELLENCE</a:t>
            </a:r>
            <a:endParaRPr lang="en-US" sz="1400" b="1" dirty="0">
              <a:solidFill>
                <a:srgbClr val="000000"/>
              </a:solidFill>
              <a:cs typeface="+mn-cs"/>
            </a:endParaRPr>
          </a:p>
        </p:txBody>
      </p:sp>
      <p:sp>
        <p:nvSpPr>
          <p:cNvPr id="31773" name="AutoShape 29"/>
          <p:cNvSpPr>
            <a:spLocks noChangeArrowheads="1"/>
          </p:cNvSpPr>
          <p:nvPr/>
        </p:nvSpPr>
        <p:spPr bwMode="auto">
          <a:xfrm>
            <a:off x="7162800" y="1908175"/>
            <a:ext cx="1444625" cy="1444625"/>
          </a:xfrm>
          <a:prstGeom prst="cube">
            <a:avLst>
              <a:gd name="adj" fmla="val 25000"/>
            </a:avLst>
          </a:prstGeom>
          <a:solidFill>
            <a:schemeClr val="bg1"/>
          </a:solidFill>
          <a:ln w="12700">
            <a:solidFill>
              <a:schemeClr val="tx1"/>
            </a:solidFill>
            <a:prstDash val="dash"/>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74" name="Freeform 30"/>
          <p:cNvSpPr>
            <a:spLocks/>
          </p:cNvSpPr>
          <p:nvPr/>
        </p:nvSpPr>
        <p:spPr bwMode="auto">
          <a:xfrm>
            <a:off x="7526338" y="1908175"/>
            <a:ext cx="1090612" cy="1081088"/>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prstDash val="dash"/>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75" name="Text Box 31"/>
          <p:cNvSpPr txBox="1">
            <a:spLocks noChangeArrowheads="1"/>
          </p:cNvSpPr>
          <p:nvPr/>
        </p:nvSpPr>
        <p:spPr bwMode="auto">
          <a:xfrm>
            <a:off x="7839075" y="2360613"/>
            <a:ext cx="393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000" b="1">
                <a:solidFill>
                  <a:srgbClr val="000000"/>
                </a:solidFill>
                <a:cs typeface="+mn-cs"/>
              </a:rPr>
              <a:t>50x</a:t>
            </a:r>
          </a:p>
        </p:txBody>
      </p:sp>
      <p:sp>
        <p:nvSpPr>
          <p:cNvPr id="31776" name="AutoShape 32"/>
          <p:cNvSpPr>
            <a:spLocks noChangeAspect="1" noChangeArrowheads="1"/>
          </p:cNvSpPr>
          <p:nvPr/>
        </p:nvSpPr>
        <p:spPr bwMode="auto">
          <a:xfrm>
            <a:off x="7162800" y="2401888"/>
            <a:ext cx="950913" cy="950912"/>
          </a:xfrm>
          <a:prstGeom prst="cube">
            <a:avLst>
              <a:gd name="adj" fmla="val 32056"/>
            </a:avLst>
          </a:prstGeom>
          <a:solidFill>
            <a:schemeClr val="bg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77" name="AutoShape 33"/>
          <p:cNvSpPr>
            <a:spLocks noChangeAspect="1" noChangeArrowheads="1"/>
          </p:cNvSpPr>
          <p:nvPr/>
        </p:nvSpPr>
        <p:spPr bwMode="auto">
          <a:xfrm>
            <a:off x="7162800" y="2751138"/>
            <a:ext cx="603250" cy="603250"/>
          </a:xfrm>
          <a:prstGeom prst="cube">
            <a:avLst>
              <a:gd name="adj" fmla="val 25000"/>
            </a:avLst>
          </a:prstGeom>
          <a:solidFill>
            <a:srgbClr val="EAEAEA"/>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78" name="Freeform 34"/>
          <p:cNvSpPr>
            <a:spLocks/>
          </p:cNvSpPr>
          <p:nvPr/>
        </p:nvSpPr>
        <p:spPr bwMode="auto">
          <a:xfrm>
            <a:off x="7315200" y="2760663"/>
            <a:ext cx="447675" cy="438150"/>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prstDash val="dash"/>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79" name="Line 35"/>
          <p:cNvSpPr>
            <a:spLocks noChangeShapeType="1"/>
          </p:cNvSpPr>
          <p:nvPr/>
        </p:nvSpPr>
        <p:spPr bwMode="auto">
          <a:xfrm flipH="1">
            <a:off x="7162800" y="3189288"/>
            <a:ext cx="161925" cy="161925"/>
          </a:xfrm>
          <a:prstGeom prst="line">
            <a:avLst/>
          </a:prstGeom>
          <a:noFill/>
          <a:ln w="12700">
            <a:solidFill>
              <a:schemeClr val="tx1"/>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grpSp>
        <p:nvGrpSpPr>
          <p:cNvPr id="70692" name="Group 36"/>
          <p:cNvGrpSpPr>
            <a:grpSpLocks/>
          </p:cNvGrpSpPr>
          <p:nvPr/>
        </p:nvGrpSpPr>
        <p:grpSpPr bwMode="auto">
          <a:xfrm>
            <a:off x="7162800" y="2708275"/>
            <a:ext cx="652463" cy="649288"/>
            <a:chOff x="4512" y="1656"/>
            <a:chExt cx="411" cy="409"/>
          </a:xfrm>
        </p:grpSpPr>
        <p:sp>
          <p:nvSpPr>
            <p:cNvPr id="31783" name="Line 37"/>
            <p:cNvSpPr>
              <a:spLocks noChangeShapeType="1"/>
            </p:cNvSpPr>
            <p:nvPr/>
          </p:nvSpPr>
          <p:spPr bwMode="auto">
            <a:xfrm>
              <a:off x="4512" y="1656"/>
              <a:ext cx="411"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sp>
          <p:nvSpPr>
            <p:cNvPr id="31784" name="Line 38"/>
            <p:cNvSpPr>
              <a:spLocks noChangeShapeType="1"/>
            </p:cNvSpPr>
            <p:nvPr/>
          </p:nvSpPr>
          <p:spPr bwMode="auto">
            <a:xfrm flipV="1">
              <a:off x="4920" y="1656"/>
              <a:ext cx="0" cy="40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grpSp>
      <p:sp>
        <p:nvSpPr>
          <p:cNvPr id="31781" name="Text Box 39"/>
          <p:cNvSpPr txBox="1">
            <a:spLocks noChangeArrowheads="1"/>
          </p:cNvSpPr>
          <p:nvPr/>
        </p:nvSpPr>
        <p:spPr bwMode="auto">
          <a:xfrm>
            <a:off x="444500" y="2760663"/>
            <a:ext cx="393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000" b="1">
                <a:solidFill>
                  <a:srgbClr val="000000"/>
                </a:solidFill>
                <a:cs typeface="+mn-cs"/>
              </a:rPr>
              <a:t>10x</a:t>
            </a:r>
          </a:p>
        </p:txBody>
      </p:sp>
      <p:sp>
        <p:nvSpPr>
          <p:cNvPr id="31782" name="Text Box 40"/>
          <p:cNvSpPr txBox="1">
            <a:spLocks noChangeArrowheads="1"/>
          </p:cNvSpPr>
          <p:nvPr/>
        </p:nvSpPr>
        <p:spPr bwMode="auto">
          <a:xfrm>
            <a:off x="2112963" y="2265363"/>
            <a:ext cx="43656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200" b="1">
                <a:solidFill>
                  <a:srgbClr val="000000"/>
                </a:solidFill>
                <a:cs typeface="+mn-cs"/>
              </a:rPr>
              <a:t>25x</a:t>
            </a:r>
          </a:p>
        </p:txBody>
      </p:sp>
      <p:sp>
        <p:nvSpPr>
          <p:cNvPr id="2" name="Rectangle 9">
            <a:extLst>
              <a:ext uri="{FF2B5EF4-FFF2-40B4-BE49-F238E27FC236}">
                <a16:creationId xmlns:a16="http://schemas.microsoft.com/office/drawing/2014/main" id="{8FD6A44B-B8E9-D747-2AAB-3F5EE35A92C8}"/>
              </a:ext>
            </a:extLst>
          </p:cNvPr>
          <p:cNvSpPr txBox="1">
            <a:spLocks noChangeArrowheads="1"/>
          </p:cNvSpPr>
          <p:nvPr/>
        </p:nvSpPr>
        <p:spPr>
          <a:xfrm>
            <a:off x="4267200" y="5983311"/>
            <a:ext cx="4606926" cy="819099"/>
          </a:xfrm>
          <a:prstGeom prst="rect">
            <a:avLst/>
          </a:prstGeom>
          <a:solidFill>
            <a:schemeClr val="bg1"/>
          </a:solidFill>
        </p:spPr>
        <p:txBody>
          <a:bodyPr vert="horz" lIns="91440" tIns="45720" rIns="91440" bIns="45720" rtlCol="0" anchor="ctr">
            <a:normAutofit/>
          </a:bodyPr>
          <a:lstStyle>
            <a:lvl1pPr algn="l" defTabSz="914354" rtl="0" eaLnBrk="1" latinLnBrk="0" hangingPunct="1">
              <a:lnSpc>
                <a:spcPct val="90000"/>
              </a:lnSpc>
              <a:spcBef>
                <a:spcPct val="0"/>
              </a:spcBef>
              <a:buNone/>
              <a:defRPr sz="3200" kern="1200">
                <a:solidFill>
                  <a:srgbClr val="2A83B4"/>
                </a:solidFill>
                <a:latin typeface="Open Sans" panose="020B0606030504020204" pitchFamily="34" charset="0"/>
                <a:ea typeface="Open Sans" panose="020B0606030504020204" pitchFamily="34" charset="0"/>
                <a:cs typeface="Open Sans" panose="020B0606030504020204" pitchFamily="34" charset="0"/>
              </a:defRPr>
            </a:lvl1pPr>
          </a:lstStyle>
          <a:p>
            <a:pPr fontAlgn="auto">
              <a:spcAft>
                <a:spcPts val="0"/>
              </a:spcAft>
              <a:defRPr/>
            </a:pPr>
            <a:r>
              <a:rPr lang="en-US" sz="2000" b="1" dirty="0">
                <a:solidFill>
                  <a:srgbClr val="C00000"/>
                </a:solidFill>
              </a:rPr>
              <a:t>The Domain of ISE and Operational Analytics is very broad today</a:t>
            </a:r>
          </a:p>
        </p:txBody>
      </p:sp>
    </p:spTree>
    <p:extLst>
      <p:ext uri="{BB962C8B-B14F-4D97-AF65-F5344CB8AC3E}">
        <p14:creationId xmlns:p14="http://schemas.microsoft.com/office/powerpoint/2010/main" val="195800717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FFB44-A94F-8F15-9B33-A981E0FC333B}"/>
              </a:ext>
            </a:extLst>
          </p:cNvPr>
          <p:cNvSpPr>
            <a:spLocks noGrp="1"/>
          </p:cNvSpPr>
          <p:nvPr>
            <p:ph type="title"/>
          </p:nvPr>
        </p:nvSpPr>
        <p:spPr>
          <a:xfrm>
            <a:off x="866978" y="377524"/>
            <a:ext cx="7886700" cy="994172"/>
          </a:xfrm>
        </p:spPr>
        <p:txBody>
          <a:bodyPr/>
          <a:lstStyle/>
          <a:p>
            <a:r>
              <a:rPr lang="en-US" dirty="0"/>
              <a:t>Succeeding at Operational Excellence and Analytics—why it’s a big deal</a:t>
            </a:r>
          </a:p>
        </p:txBody>
      </p:sp>
      <p:pic>
        <p:nvPicPr>
          <p:cNvPr id="6" name="Content Placeholder 5" descr="Chart&#10;&#10;Description automatically generated with medium confidence">
            <a:extLst>
              <a:ext uri="{FF2B5EF4-FFF2-40B4-BE49-F238E27FC236}">
                <a16:creationId xmlns:a16="http://schemas.microsoft.com/office/drawing/2014/main" id="{EF986925-9381-7662-9624-5847B0C64C1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4509" y="1796806"/>
            <a:ext cx="4260615" cy="3080185"/>
          </a:xfrm>
        </p:spPr>
      </p:pic>
      <p:sp>
        <p:nvSpPr>
          <p:cNvPr id="4" name="Slide Number Placeholder 3">
            <a:extLst>
              <a:ext uri="{FF2B5EF4-FFF2-40B4-BE49-F238E27FC236}">
                <a16:creationId xmlns:a16="http://schemas.microsoft.com/office/drawing/2014/main" id="{CA2A5D7D-1FF2-4D76-CA72-2A3F4D8051B1}"/>
              </a:ext>
            </a:extLst>
          </p:cNvPr>
          <p:cNvSpPr>
            <a:spLocks noGrp="1"/>
          </p:cNvSpPr>
          <p:nvPr>
            <p:ph type="sldNum" sz="quarter" idx="12"/>
          </p:nvPr>
        </p:nvSpPr>
        <p:spPr/>
        <p:txBody>
          <a:bodyPr/>
          <a:lstStyle/>
          <a:p>
            <a:fld id="{602F7A02-EF0D-4D82-9BFD-3DDF074AABBD}" type="slidenum">
              <a:rPr lang="en-CA" smtClean="0"/>
              <a:t>15</a:t>
            </a:fld>
            <a:endParaRPr lang="en-CA" dirty="0"/>
          </a:p>
        </p:txBody>
      </p:sp>
      <p:pic>
        <p:nvPicPr>
          <p:cNvPr id="8" name="Picture 7">
            <a:extLst>
              <a:ext uri="{FF2B5EF4-FFF2-40B4-BE49-F238E27FC236}">
                <a16:creationId xmlns:a16="http://schemas.microsoft.com/office/drawing/2014/main" id="{6C8991C7-512D-B3AA-C930-E7E4E14488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0473" y="3414711"/>
            <a:ext cx="743054" cy="28579"/>
          </a:xfrm>
          <a:prstGeom prst="rect">
            <a:avLst/>
          </a:prstGeom>
        </p:spPr>
      </p:pic>
      <p:pic>
        <p:nvPicPr>
          <p:cNvPr id="10" name="Picture 9" descr="Graphical user interface, chart, scatter chart&#10;&#10;Description automatically generated">
            <a:extLst>
              <a:ext uri="{FF2B5EF4-FFF2-40B4-BE49-F238E27FC236}">
                <a16:creationId xmlns:a16="http://schemas.microsoft.com/office/drawing/2014/main" id="{CBC2C566-4345-D162-B99C-98DC31C076C8}"/>
              </a:ext>
            </a:extLst>
          </p:cNvPr>
          <p:cNvPicPr>
            <a:picLocks noChangeAspect="1"/>
          </p:cNvPicPr>
          <p:nvPr/>
        </p:nvPicPr>
        <p:blipFill rotWithShape="1">
          <a:blip r:embed="rId4">
            <a:extLst>
              <a:ext uri="{28A0092B-C50C-407E-A947-70E740481C1C}">
                <a14:useLocalDpi xmlns:a14="http://schemas.microsoft.com/office/drawing/2010/main" val="0"/>
              </a:ext>
            </a:extLst>
          </a:blip>
          <a:srcRect r="53576"/>
          <a:stretch/>
        </p:blipFill>
        <p:spPr>
          <a:xfrm>
            <a:off x="4872356" y="2013943"/>
            <a:ext cx="3947135" cy="3658111"/>
          </a:xfrm>
          <a:prstGeom prst="rect">
            <a:avLst/>
          </a:prstGeom>
        </p:spPr>
      </p:pic>
      <p:sp>
        <p:nvSpPr>
          <p:cNvPr id="11" name="Oval 10">
            <a:extLst>
              <a:ext uri="{FF2B5EF4-FFF2-40B4-BE49-F238E27FC236}">
                <a16:creationId xmlns:a16="http://schemas.microsoft.com/office/drawing/2014/main" id="{5C859F22-F433-7F5B-F6BA-DAC49BB0F089}"/>
              </a:ext>
            </a:extLst>
          </p:cNvPr>
          <p:cNvSpPr/>
          <p:nvPr/>
        </p:nvSpPr>
        <p:spPr>
          <a:xfrm>
            <a:off x="4333673" y="5150349"/>
            <a:ext cx="476655" cy="350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88" dirty="0"/>
              <a:t>$6</a:t>
            </a:r>
          </a:p>
        </p:txBody>
      </p:sp>
      <p:sp>
        <p:nvSpPr>
          <p:cNvPr id="12" name="Oval 11">
            <a:extLst>
              <a:ext uri="{FF2B5EF4-FFF2-40B4-BE49-F238E27FC236}">
                <a16:creationId xmlns:a16="http://schemas.microsoft.com/office/drawing/2014/main" id="{0A87C8FE-DFD1-09AE-1DCD-F065915F346F}"/>
              </a:ext>
            </a:extLst>
          </p:cNvPr>
          <p:cNvSpPr/>
          <p:nvPr/>
        </p:nvSpPr>
        <p:spPr>
          <a:xfrm>
            <a:off x="8384306" y="1663143"/>
            <a:ext cx="669727" cy="350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88" dirty="0"/>
              <a:t>$60</a:t>
            </a:r>
          </a:p>
        </p:txBody>
      </p:sp>
      <p:sp>
        <p:nvSpPr>
          <p:cNvPr id="13" name="Rectangle 12">
            <a:extLst>
              <a:ext uri="{FF2B5EF4-FFF2-40B4-BE49-F238E27FC236}">
                <a16:creationId xmlns:a16="http://schemas.microsoft.com/office/drawing/2014/main" id="{E92B1068-8EF7-92C3-80FD-7C84730B3766}"/>
              </a:ext>
            </a:extLst>
          </p:cNvPr>
          <p:cNvSpPr/>
          <p:nvPr/>
        </p:nvSpPr>
        <p:spPr>
          <a:xfrm>
            <a:off x="628650" y="4993453"/>
            <a:ext cx="3224720" cy="6241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Built to Last Data</a:t>
            </a:r>
          </a:p>
        </p:txBody>
      </p:sp>
      <p:sp>
        <p:nvSpPr>
          <p:cNvPr id="14" name="Rectangle 13">
            <a:extLst>
              <a:ext uri="{FF2B5EF4-FFF2-40B4-BE49-F238E27FC236}">
                <a16:creationId xmlns:a16="http://schemas.microsoft.com/office/drawing/2014/main" id="{9D4EF94B-5C77-6B8B-6988-47B0C094B394}"/>
              </a:ext>
            </a:extLst>
          </p:cNvPr>
          <p:cNvSpPr/>
          <p:nvPr/>
        </p:nvSpPr>
        <p:spPr>
          <a:xfrm>
            <a:off x="4872355" y="1838542"/>
            <a:ext cx="3224720" cy="6241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A Transformation that Dave played an integral role in…</a:t>
            </a:r>
          </a:p>
        </p:txBody>
      </p:sp>
    </p:spTree>
    <p:extLst>
      <p:ext uri="{BB962C8B-B14F-4D97-AF65-F5344CB8AC3E}">
        <p14:creationId xmlns:p14="http://schemas.microsoft.com/office/powerpoint/2010/main" val="32721506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534400" cy="1143000"/>
          </a:xfrm>
        </p:spPr>
        <p:txBody>
          <a:bodyPr>
            <a:noAutofit/>
          </a:bodyPr>
          <a:lstStyle/>
          <a:p>
            <a:pPr algn="l"/>
            <a:r>
              <a:rPr lang="en-US" sz="3600" dirty="0"/>
              <a:t>Context – The Purpose of Operational Analytics, Analysts</a:t>
            </a:r>
          </a:p>
        </p:txBody>
      </p:sp>
      <p:sp>
        <p:nvSpPr>
          <p:cNvPr id="6" name="Content Placeholder 5"/>
          <p:cNvSpPr>
            <a:spLocks noGrp="1"/>
          </p:cNvSpPr>
          <p:nvPr>
            <p:ph idx="1"/>
          </p:nvPr>
        </p:nvSpPr>
        <p:spPr>
          <a:xfrm>
            <a:off x="457200" y="1447800"/>
            <a:ext cx="8229600" cy="4724399"/>
          </a:xfrm>
          <a:ln>
            <a:solidFill>
              <a:schemeClr val="bg1">
                <a:lumMod val="95000"/>
              </a:schemeClr>
            </a:solidFill>
          </a:ln>
        </p:spPr>
        <p:txBody>
          <a:bodyPr>
            <a:noAutofit/>
          </a:bodyPr>
          <a:lstStyle/>
          <a:p>
            <a:pPr algn="ctr">
              <a:buNone/>
            </a:pPr>
            <a:endParaRPr lang="en-US" sz="1600" dirty="0"/>
          </a:p>
          <a:p>
            <a:pPr algn="ctr">
              <a:buNone/>
            </a:pPr>
            <a:r>
              <a:rPr lang="en-US" dirty="0"/>
              <a:t>Facilitate &amp; Enable the creation of solutions</a:t>
            </a:r>
          </a:p>
          <a:p>
            <a:pPr algn="ctr">
              <a:buNone/>
            </a:pPr>
            <a:r>
              <a:rPr lang="en-US" dirty="0"/>
              <a:t>that enable </a:t>
            </a:r>
          </a:p>
          <a:p>
            <a:pPr algn="ctr">
              <a:buNone/>
            </a:pPr>
            <a:r>
              <a:rPr lang="en-US" dirty="0"/>
              <a:t>better decisions faster and then drive actions, improvement implementation, faster and then drive benefits realization faster (desired and positive outcomes) and then grow Enterprise Value (system, process, business value creation).</a:t>
            </a:r>
          </a:p>
        </p:txBody>
      </p:sp>
      <p:sp>
        <p:nvSpPr>
          <p:cNvPr id="1026" name="AutoShape 2" descr="data:image/jpeg;base64,/9j/4AAQSkZJRgABAQAAAQABAAD/2wCEAAkGBwgHBgkIBwgKCgkLDRYPDQwMDRsUFRAWIB0iIiAdHx8kKDQsJCYxJx8fLT0tMTU3Ojo6Iys/RD84QzQ5OjcBCgoKDQwNGg8PGjclHyU3Nzc3Nzc3Nzc3Nzc3Nzc3Nzc3Nzc3Nzc3Nzc3Nzc3Nzc3Nzc3Nzc3Nzc3Nzc3Nzc3N//AABEIAKAAoAMBIgACEQEDEQH/xAAbAAACAwEBAQAAAAAAAAAAAAAABAIDBQYBB//EAEoQAAIBAwMBBAUIBgcFCQEAAAECAwAEEQUSITETIkFRBmFxcrEUFTIzNIGRoUJWYoKU0RYjUlWSweElNnTi8CZFRlNjssLx8hf/xAAaAQEAAwEBAQAAAAAAAAAAAAAAAQIDBAYF/8QAKxEAAgECBAUCBwEAAAAAAAAAAAECAxESITFRBBNBkaEUUgUyM2Fx0fAj/9oADAMBAAIRAxEAPwD7jRRRQBRRRQBRXmaCcDNAe0VmHVG7OKUwBYpfoEvyRxgnjjrXsGqLNeRwLGwEsQkQngkZPP5D8aA0TRkVmW2rxzNErQyIznHUHbknGf8ACazl1OSe3ske7EXayuk8qlcrgnA56Zx19VZzmo6lowctDpM15kVzEd7LJOsVzfyRWoMoS5Uhe12kAZbGOBnp1xmqYdQvJLiIXM0q2xWNpZFGCOXwT5BsLn/Ws/UR2NORLc67IorjdebUvn6OOxuJ0JniZVBOz6qXun9klVz7RSFrcXMklpdtHdTSvcSR/I5Vk3RAzN3wRxwCM7uMAc+faqV1e5xOuk2rH0DNR3r/AGh+NfPLCC+7FIntNT+cAlp8nmKSBVwih9zHu44bIPJz501pWnzPaTrJaSxzreo5zYsjFVuN2d5+n3fwFHTt1CrN9DvK9qK9KlWRuFFFFAFFFFAB6Unqd9DptlJd3JYRRDLFRkj7qcrn/Tr/AHV1Dj9AfEVEnZZGlKCnUjF6Nin9P9A/86fj/wBBq9/p5oRRnElztUgMfk7YGenwNfN40h7ExWZDHGZrtxtCAg5UAj2+3HFe7oRb52FLFCdgJw1w48/V7Oma5edM9A/hXDdLnbN6W6FvZo7hUBO7HzcT6/Op2Gv6dd3ccFhcAzOcqE03BHXnOeOp59dfPls7q91JbaC22zynKxDgKDzn1DHNfQ9K0lfRyxBt4TdXD5M0g69Oi+qkHObz0MuM4PheHglFtyeiy/RriG5DApdhSM4K2qePXxqo2NwQ227ADfSxax8+3mqLq5kZ42+R3WGBJEbsCMEjnHHr/wDqvO0DL3ba7LdqI9pmbgkA56+z861dKD1v3Pj/AOi0t4GGsrzaE+dJgo6DsEwPzqD2N8wOdXuenhEo/wDlUI7owSNts7x25Tl2YcZ6Z+78ate/njaTdYSMA5VShzuA8T5f6VXkUv5ssnV6W7IqOl3vjrV9+H/PUG0e6YYbWb4+3/8AdW/Ok2xWOn3Gcd4Y6cH1er86ctp2nj3mGSPkjDY8Kj01J/zJdStHP9GUdCmPXVrv/D/zVja5a3Wl3MMMd9NOZV3KFJDDy4yf+hXSa+066TM1qXEwaMrs5P01pf0W06d7uW/1S2mNy30JJCuAPUOoNcXEUIuapU0098zejWlGDqzaa2yOk09Zo7KBLlt0yoA5z1OOaaqIFSr6sVZWPnt3dwoooqSAooooArn/AE6/3Vv89Ng6e8K6CsD06H/ZXUM/2B8RVZ/KzbhvrQ/KPlwEDRpI0DCyRyqoD35m69RgnkDp0q+1S4mvURLbtNRfCwQFO7AvBDH8vzrNsYry9u7e3tBI84OIwP0Oc59Qr6hoOiRaRCSW7W8l5lnbqx8vZXHSjjPTfEK8eGWbvJ9CGh6ImjWkjLia9lBaaUj6bdceoZq5tQvQjEaXISuMjfjdz4ceVTgudQLgTWSgE5LLJwBn44qUM9924Sa0QrvH9YGA7ufLPXFdiSSsjzk5SnJynZthNdXabSti78kEA88YwfzP4VFr28KSFNPbKpkAyDvHyHHqP4ivBc6lshb5EuSP6wdp0Pn7KDdajk404dDx2g/68fyoVw/Zdzw6heDuvpkhbbk7XGCfLpVou7pnXNiy5Tdkv0OTwcDyAP31A3WobT/s/pnAMoAP31FrvUWVXisBnLh0diDx0xnqD50Jw/Zdw+W33ZRt82OHzh1DDjp/rQl9eyK+7TnRhnBZs5qbXF+GlxaKwUjYA473n/lXi3V+SAdPA56iQdOf8qEWWy7jNrNJMhaWAwnOApbJPrrXgA7KM/sisuCR5IFeSPs3IOV8q1YPqo/dHwqxjLUsooooQFFFFAFFFFAFYvpfbS3no9eW9uu6WQKqjOOdwrape++zn3l+Io1fItCThJSXQ4nSoLX0ZU2/yG9ubpgDLcQ25ZWz+iD5DyrQ/pFH/dmq4/4U/wA6f1S6axsJ7tYWmEEbSNGpAJABPHr9VKy65bJ6OnXEEkkHyftkRR3m4+j7c8eQqqjZWRvOvGpLFUV3+SoekMf92ap/Cn+dWW2tpczpELDUY9xxvktyAPac8U5Y3XyuwivWXso5YxKAWzhSMjJ9hqrStVttS0xdQiJjhy+/teCm0kHPl0qbS3KOdO2UfJDWZ5LWGGVJzGHuYYiDjGGkUHr6iaSuL64gN8i3IcQTQJ2hZAVDbM8Y9ZpqDU57zTfnGxsGlhdN8KyP2ckq+YUjjPgDjrzivRqpbWINOFs2Z4DcLJuAAQFQcjrnLDj86sYhpl2093cRSTqwSaVEUOpyA2BwOeB41K/1ZbKcQtZXsx2ht8EG5efXXg1I/PbaX8mIdYBOZd427CSBxjOcg1Xp+svfHUgloYzp85gkDSjvOFVztIHTaw5OKh36FoOKeauQPpFGf+7NVx/wp/nR/SKP+7NV/hT/ADq3Q9ai1zTjdWkbrMh2S20vdeJ/7LdccYPkQQaqudeNuultJYv/ALSnWCICQd1mUsN3qwp6Z8Ki0tzXHS9vknb64k8yRDT9Rj3nG6S2IVfac8V08H1Ufuj4VjW80skk0c0BiKBWUhwwcHPj6sdK2YPqY/dHwojObi/lViyiiipKBRRRQBRRRQBS9/8AZz7y/EUxS9/9n/eX4igMLXJ4oLMLNu/rJolGxSxx2i5PHgBnNYVlbPYnVtPmjYabbGS5tpOSHEyk7APHDGTj1rius3AE98D78UBwDkOPxoTZnKaPcK3oj6PaYxkinmtLe3mDRHMIWMbwwI4J2lefFhVE1k7XXpHoC3DEapD28MxQhEmdSjpkDA+irY9Z867LeP7Y/GgOOgcfcakWZk6dq0CaTC16klrcRQqstq6HtFYDkBR9L1Yzms+V1u/TGwkkSeMHTZFbBddjsyEIWXHOM8Z8K3G1BEaUNFOOyTew2jgd7B6/sn8qlHfxSStEpfIgWYk9Apzj4GhBiQdnF6bzbTNsOnLHvkLsu8SMSu455xg4zSuiTrHH6WSMHQS38kkO5GHaKYY1BXjkFgRxXQpqkUkFtLEszJdbRGduMkqWwQehG05HgeKdVi6q3eGRnngigOYvtPmQW3pBoC7r6O3RLi36C8iUfQPk452k+PHjSeslZbX0QBjnXF9DNIFRt0Sdk4yxX6PJAz667PnNAz66E2Zm6ZNbiW4trVppVVjK8jhiAW6Dc30jwemcCujg+pj90fCs5snJrRg+pj90fCoILKKKKAKKKKAKKKKAKXv/ALP+8vxFMUvffUfvr/7hQHO6po+k3MjXeoRqGwAztKyDA488UkmiejUgkMfYsI8byLo9zPTPPFDMbn07+T3XeittOFxao3QyNIVdvaAEA8txrWvoYezuZdids9syM3iygE8+eM/n66jDE1VeqlZSZmf0f9H+yMvZx9kDjf8AKTtz7c4q+w0HR0ljurOFWZGyjrMzDP44NYVk11//ACy3X5PEY/mJOTKenYjnG2ttZmg9HdPhgDma4hihiWLarHKAsRkgZChj933UwrYOvVas5Mckt4ZRc3Ju2WK4hEZYMu1V57wOPWeuaoGm2rqZ0uiImhjifZ2ex0QknPGOckH1ZpT0Ob5Pa3ekOjI2mXBiSNsZWFu/EOCRwrBev6NZVmZPRW3ttRjVn0O7RXvYxz8jkYAmZf2CfpDwPPnVjI6G3sbUoGhvCYYbprkBGjKITuyvA4XvH8etVXVlpOrXYdroyTFQoWG6IyB5AGsu7aOaX0etCymwvL+6Z1XGyYqZGQHzGeceOK2NUvbe3vLBLiymklefbaPGEx2m1sjJYEd3d1wKhq5aE5Qd4ih0XQgWBvGBXqDfMCPb3qG0LRF27rmRdw3Lm+YZHmO9zSsHyiL0h9KmsbaKWTFvt3HGT2A8Mc1fq0MEev8AowkUaBI5LhFAH0QIxwPZUYY7GvqKvuGrPQtMSRLi1klkaNuCLpnGfXziuqg+qj90fCuL1ki09K9Be0G2e8kmhuVXjtIljLbmHjtbbg+uu0g+pj90fCpsloZTnKbvJllFFFCoUUUUAUUUUAUvf/Z/3l+Ipil777P+8vxFAZN3Y2928UkyntYWLRSoxVkJ64I8D5dDVLaVbvI8srXEkskJgZzO4OwnJAAIC5wOVAPFV39hqFxcGS21iS2jwAIlhRgMeOTS/wA1at+sNx/DR1W72NlTg1nNeRpdFsE0caQkcosRH2IjE8mezxjbu3ZxjjrUoNJtIHtGj+UA2qGOENdSkKpwOQWIPQdc0n806v8ArDcfw0dHzTq/6w3H8NHTE9ieVD3ryWXFjpVvqUl9NJLFd3EaxO4uJRuXcdq4DYHLHHtq6zk022sPk8E2baILERI7ybQwAAJbJ5BHHr9dSnsLmWwt4Xue1limilaZ1279jhug8TjFQuNNllN4VdB20sUiDLcBNmQR69n51cxepXFYaRNpq6RHEj2kBxHECwMZVs908EFSeCDkUydMt3ubeedp55LZy8BllJEZIIyAMAnBPLZPPWi2s5oZJm3qe1klfgk43HI4PGRSPzTq4/8AEU/t+TR/yqG7F4QjLWVhqPRbKK8u7yMXK3F3t7Zlu5Rv2jA43YHHHGKg2g6cXs5OzuN1kD8nIupRtLDvE97vE+JOTVHzTq/6w3H8NHR806v+sU/8NHVcT2L8qHvXk0INPtYLmS6jjY3DLsMsjs7beu0FiSBnnA4rcg+pj90fCuXg0zUo50km12aaNTlozAgDjyyK6iD6mP3R8KlMznFReTuWUUUVJQKKKKAKKKKAKXv/ALOfeX4imKXv/s595fiKAS8aT1mxOpaZcWiXE1tJJGwjnhkZHjfHDAgjoaco69PCpBwU19KNP0nVDPJEWDaZf25uJNkUxOztMZ6q4PJ8GrU1qX5m07UdUtjPKNJsmSNZbmRhLLjcWcE97A28nPLNWgfRuxefVnk3MmpriSP9FCVCsw9bbV5/ZFN2umQR6Oum3ObqMxdlM0v0ps/SLY8TyaAoj0ZBp3ZSXM73pTm+3nte0x1B8s/o/RxxjFc2+qS39h6JajcyXEb3N20V0ttJIqyhYpf0VPILIGHFdKunXiWAsE1IiAJ2YmMOZwuMfSztzjx2/dnmqbnQQzaQtjcJa2+lSdpDD2G/cdjJydw4wx+/xoCr0aMt7Z39w9xJNpt1OZLDdKxkSLaM5JO4d8MQDyPHHQT9By8noppssssss00IeSSaVnZjkjqxJq6x0d9OuL9tPu0jt7uQzG3kg3rFIR3iuHGATzjzJqrTtEurDSrTTItTU29vtG5bbEjqGzgnfgZ6cDoaAV9HrZLi812Oae8ZYb8xxD5ZL3F7NDhe9xyTTfo3ezzyapY3UjTSaddmATN9KRSiuu7H6QDYPnjPjUtP0q6sZb6SPUIWa9n7d82h7jYA7v8AWeS+Oac0vTYdMt2hgLuzu0ksspy8rk8sx/LgAAACgHD0NaMH1Mfuj4VnHpWjB9TH7o+FQCyiiigCiiigCiiigCl7/wCzn3l+Ipil7/7OfeX4igEqWu5WjeFYzlixLIvJKgHw9uKZoPn5eOKFouzM3ttQAQGMl1kYSYHBU/RIPqyP8JqMUt+YcyM4fs05eIY3be9kAefl+FRjvrj5KjhVkkaFW4XAV+pX8AePD76ujupZJsKAbd3G1wudg2gkN+fPqIqpvnsiXaXbTwHDIhRTICoPOeRkDr+HnVZ+cBfNGHZoCTh9qYHj5Z8x9y+ZqmPULprYuzIJOwRguz9Irk8e2m7mdw8BilTs5GYElc8AMc/iBUlc10RRJLqPZIYlbtBGpcMg+mGBKjjoRkZ8OOamJ7zAJiY7ZyXBTrHnAAwOcZz+7U2uZReyR5VIAcGQrnb3c/mT+WPGq47q5YxF1AVygfC8wnx3DwBHQ+HShK00IvNfi2gIWRrjjto9g29Gzg488Y58uetaMLh1/TyMA71wemf86zLPUJ2gtZLnaA8YM2FxsOMnjy6+scZrW8aIpUyQHoa0YPqY/dHwrOPQ1owfUx+6PhUmRZRRRQBRRRQBRRRQBS9/9nPvL8RTFL3/ANnPvL8RQCVeOwRGZugGTXtFSDPTWIJE3RiQkjjOME5HHX9oV4+osuxgqNmBJdoJySxxgflWjgeQo8PZUWZpijsIfOLtvEUW9kkHdDcuhGdy+vrx44qs6lLtDDsm3bMHB53bvM+rx86dmMwYdjHEw8d7kY/I1DN3x/V249W9v5e2osyccdigXYjtbuSPsQ0e5wFON3dBJP41BNUkdHbYg7MA4Ocv3iu0eR49fUe2noe2LHtliVcDGxicnx8BVtLMjHHYzJNSkCKRGjb1Z9uclACAQcnk8k446HrWkrBlDD9IA/dXtFSRJp6AehrRg+pj90fCs49DWjB9TH7o+FChZRRRQBRRRQH/2Q=="/>
          <p:cNvSpPr>
            <a:spLocks noChangeAspect="1" noChangeArrowheads="1"/>
          </p:cNvSpPr>
          <p:nvPr/>
        </p:nvSpPr>
        <p:spPr bwMode="auto">
          <a:xfrm>
            <a:off x="63500" y="-731838"/>
            <a:ext cx="1524000" cy="15240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76187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C5E07-DB5B-55F2-6F01-6B61AC3D8F04}"/>
              </a:ext>
            </a:extLst>
          </p:cNvPr>
          <p:cNvSpPr>
            <a:spLocks noGrp="1"/>
          </p:cNvSpPr>
          <p:nvPr>
            <p:ph type="title"/>
          </p:nvPr>
        </p:nvSpPr>
        <p:spPr/>
        <p:txBody>
          <a:bodyPr/>
          <a:lstStyle/>
          <a:p>
            <a:r>
              <a:rPr lang="en-US" dirty="0"/>
              <a:t>Logic for the OA Foundations</a:t>
            </a:r>
          </a:p>
        </p:txBody>
      </p:sp>
      <p:sp>
        <p:nvSpPr>
          <p:cNvPr id="3" name="Content Placeholder 2">
            <a:extLst>
              <a:ext uri="{FF2B5EF4-FFF2-40B4-BE49-F238E27FC236}">
                <a16:creationId xmlns:a16="http://schemas.microsoft.com/office/drawing/2014/main" id="{D52268DB-61E4-27E1-5D29-0E7DE9B5711D}"/>
              </a:ext>
            </a:extLst>
          </p:cNvPr>
          <p:cNvSpPr>
            <a:spLocks noGrp="1"/>
          </p:cNvSpPr>
          <p:nvPr>
            <p:ph idx="1"/>
          </p:nvPr>
        </p:nvSpPr>
        <p:spPr>
          <a:xfrm>
            <a:off x="457200" y="1143000"/>
            <a:ext cx="8229600" cy="5181600"/>
          </a:xfrm>
        </p:spPr>
        <p:txBody>
          <a:bodyPr/>
          <a:lstStyle/>
          <a:p>
            <a:pPr marL="0" indent="0">
              <a:buNone/>
            </a:pPr>
            <a:r>
              <a:rPr lang="en-US" b="1" dirty="0"/>
              <a:t>OA 101:  Foundations for Building Performance Measurement, Evaluation, Improvement Systems  </a:t>
            </a:r>
          </a:p>
          <a:p>
            <a:pPr lvl="1"/>
            <a:endParaRPr lang="en-US" b="1" dirty="0"/>
          </a:p>
          <a:p>
            <a:pPr lvl="1"/>
            <a:r>
              <a:rPr lang="en-US" dirty="0"/>
              <a:t>Systems Thinking and Process Breakdown Structure</a:t>
            </a:r>
          </a:p>
          <a:p>
            <a:pPr lvl="1"/>
            <a:endParaRPr lang="en-US" dirty="0"/>
          </a:p>
          <a:p>
            <a:pPr lvl="1"/>
            <a:r>
              <a:rPr lang="en-US" dirty="0"/>
              <a:t>The ‘Management Systems Model’ (Management Systems Engineering)</a:t>
            </a:r>
          </a:p>
          <a:p>
            <a:pPr lvl="2"/>
            <a:r>
              <a:rPr lang="en-US" dirty="0"/>
              <a:t>Management Systems Analysis (Value Streams and Control Points)</a:t>
            </a:r>
          </a:p>
          <a:p>
            <a:pPr lvl="2"/>
            <a:r>
              <a:rPr lang="en-US" dirty="0"/>
              <a:t>Users and Use Cases</a:t>
            </a:r>
          </a:p>
          <a:p>
            <a:pPr lvl="2"/>
            <a:r>
              <a:rPr lang="en-US" dirty="0"/>
              <a:t>Decision-Action (Study/Adjust) Requirements</a:t>
            </a:r>
          </a:p>
          <a:p>
            <a:pPr lvl="2"/>
            <a:r>
              <a:rPr lang="en-US" dirty="0"/>
              <a:t>Information Requirements &amp; Portrayal, Perception, Insights to Actions</a:t>
            </a:r>
          </a:p>
          <a:p>
            <a:pPr lvl="2"/>
            <a:r>
              <a:rPr lang="en-US" dirty="0"/>
              <a:t>Data Requirements</a:t>
            </a:r>
          </a:p>
          <a:p>
            <a:pPr lvl="2"/>
            <a:r>
              <a:rPr lang="en-US" dirty="0"/>
              <a:t>Data Management Requirements</a:t>
            </a:r>
          </a:p>
          <a:p>
            <a:pPr lvl="2"/>
            <a:r>
              <a:rPr lang="en-US" dirty="0"/>
              <a:t>Data Analytics Requirements</a:t>
            </a:r>
          </a:p>
          <a:p>
            <a:pPr lvl="2"/>
            <a:r>
              <a:rPr lang="en-US" dirty="0"/>
              <a:t>Visualization Requirements</a:t>
            </a:r>
          </a:p>
          <a:p>
            <a:pPr lvl="2"/>
            <a:endParaRPr lang="en-US" dirty="0"/>
          </a:p>
          <a:p>
            <a:pPr lvl="1"/>
            <a:r>
              <a:rPr lang="en-US" dirty="0"/>
              <a:t>Getting all the System Components in Place to ensure ‘End Game’ Achieved</a:t>
            </a:r>
          </a:p>
          <a:p>
            <a:pPr marL="446087" lvl="1" indent="0">
              <a:buNone/>
            </a:pPr>
            <a:endParaRPr lang="en-US" dirty="0"/>
          </a:p>
          <a:p>
            <a:pPr marL="858837" lvl="2" indent="0">
              <a:buNone/>
            </a:pPr>
            <a:endParaRPr lang="en-US" dirty="0"/>
          </a:p>
          <a:p>
            <a:endParaRPr lang="en-US" b="1" dirty="0"/>
          </a:p>
          <a:p>
            <a:pPr marL="0" indent="0">
              <a:buNone/>
            </a:pPr>
            <a:endParaRPr lang="en-US" b="1" dirty="0"/>
          </a:p>
          <a:p>
            <a:endParaRPr lang="en-US" b="1" dirty="0"/>
          </a:p>
        </p:txBody>
      </p:sp>
    </p:spTree>
    <p:extLst>
      <p:ext uri="{BB962C8B-B14F-4D97-AF65-F5344CB8AC3E}">
        <p14:creationId xmlns:p14="http://schemas.microsoft.com/office/powerpoint/2010/main" val="12113705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damental Questions</a:t>
            </a:r>
          </a:p>
        </p:txBody>
      </p:sp>
      <p:pic>
        <p:nvPicPr>
          <p:cNvPr id="11266" name="Picture 3" descr="image0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064" y="1104900"/>
            <a:ext cx="8219872"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Rounded Corners 2">
            <a:extLst>
              <a:ext uri="{FF2B5EF4-FFF2-40B4-BE49-F238E27FC236}">
                <a16:creationId xmlns:a16="http://schemas.microsoft.com/office/drawing/2014/main" id="{4A27F47B-A1C7-0A36-047F-8D4EBEC79B90}"/>
              </a:ext>
            </a:extLst>
          </p:cNvPr>
          <p:cNvSpPr/>
          <p:nvPr/>
        </p:nvSpPr>
        <p:spPr bwMode="auto">
          <a:xfrm>
            <a:off x="381000" y="3848100"/>
            <a:ext cx="8372272" cy="2476500"/>
          </a:xfrm>
          <a:prstGeom prst="round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US" sz="1300" b="0" i="0" u="none" strike="noStrike" cap="none" normalizeH="0" baseline="0" dirty="0">
                <a:ln>
                  <a:noFill/>
                </a:ln>
                <a:solidFill>
                  <a:schemeClr val="bg1"/>
                </a:solidFill>
                <a:effectLst/>
                <a:latin typeface="Arial" charset="0"/>
                <a:ea typeface="ＭＳ Ｐゴシック" pitchFamily="1" charset="-128"/>
              </a:rPr>
              <a:t>In the pursuit of ‘full potential performance’ in your organization, there are some very basic, fundamental questions that must be answered in the context of Organizational Strategy.</a:t>
            </a:r>
          </a:p>
          <a:p>
            <a:pPr marL="0" marR="0" indent="0" defTabSz="914400" rtl="0" eaLnBrk="0" fontAlgn="base" latinLnBrk="0" hangingPunct="0">
              <a:lnSpc>
                <a:spcPct val="100000"/>
              </a:lnSpc>
              <a:spcBef>
                <a:spcPct val="0"/>
              </a:spcBef>
              <a:spcAft>
                <a:spcPct val="0"/>
              </a:spcAft>
              <a:buClrTx/>
              <a:buSzTx/>
              <a:buFontTx/>
              <a:buNone/>
              <a:tabLst/>
            </a:pPr>
            <a:endParaRPr lang="en-US" dirty="0">
              <a:solidFill>
                <a:schemeClr val="bg1"/>
              </a:solidFill>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300" b="0" i="0" u="none" strike="noStrike" cap="none" normalizeH="0" baseline="0" dirty="0">
                <a:ln>
                  <a:noFill/>
                </a:ln>
                <a:solidFill>
                  <a:schemeClr val="bg1"/>
                </a:solidFill>
                <a:effectLst/>
                <a:latin typeface="Arial" charset="0"/>
                <a:ea typeface="ＭＳ Ｐゴシック" pitchFamily="1" charset="-128"/>
              </a:rPr>
              <a:t>What are the right systems, sub-systems, business processes, processes to focus on?  What is our optimal portfolio?  What aligns best to our ‘Good Strategy’.  </a:t>
            </a:r>
          </a:p>
          <a:p>
            <a:pPr marL="742950" lvl="1" indent="-285750">
              <a:buFont typeface="Arial" panose="020B0604020202020204" pitchFamily="34" charset="0"/>
              <a:buChar char="•"/>
            </a:pPr>
            <a:r>
              <a:rPr lang="en-US" dirty="0">
                <a:solidFill>
                  <a:schemeClr val="bg1"/>
                </a:solidFill>
                <a:latin typeface="Arial" charset="0"/>
                <a:ea typeface="ＭＳ Ｐゴシック" pitchFamily="1" charset="-128"/>
              </a:rPr>
              <a:t>Lots of ways to create the right portfolio (e.g. Theory of Constraints, Pain Point Analysis, Value Stream Analytics to name a few)</a:t>
            </a:r>
          </a:p>
          <a:p>
            <a:pPr marL="285750" indent="-285750">
              <a:buFont typeface="Arial" panose="020B0604020202020204" pitchFamily="34" charset="0"/>
              <a:buChar char="•"/>
            </a:pPr>
            <a:r>
              <a:rPr kumimoji="0" lang="en-US" b="0" i="0" u="none" strike="noStrike" cap="none" normalizeH="0" baseline="0" dirty="0">
                <a:ln>
                  <a:noFill/>
                </a:ln>
                <a:solidFill>
                  <a:schemeClr val="bg1"/>
                </a:solidFill>
                <a:effectLst/>
                <a:latin typeface="Arial" charset="0"/>
                <a:ea typeface="ＭＳ Ｐゴシック" pitchFamily="1" charset="-128"/>
              </a:rPr>
              <a:t>How does the ‘</a:t>
            </a:r>
            <a:r>
              <a:rPr lang="en-US" dirty="0">
                <a:solidFill>
                  <a:schemeClr val="bg1"/>
                </a:solidFill>
                <a:latin typeface="Arial" charset="0"/>
                <a:ea typeface="ＭＳ Ｐゴシック" pitchFamily="1" charset="-128"/>
              </a:rPr>
              <a:t>focal’ system/process work?</a:t>
            </a:r>
          </a:p>
          <a:p>
            <a:pPr marL="285750" indent="-285750">
              <a:buFont typeface="Arial" panose="020B0604020202020204" pitchFamily="34" charset="0"/>
              <a:buChar char="•"/>
            </a:pPr>
            <a:r>
              <a:rPr kumimoji="0" lang="en-US" b="0" i="0" u="none" strike="noStrike" cap="none" normalizeH="0" baseline="0" dirty="0">
                <a:ln>
                  <a:noFill/>
                </a:ln>
                <a:solidFill>
                  <a:schemeClr val="bg1"/>
                </a:solidFill>
                <a:effectLst/>
                <a:latin typeface="Arial" charset="0"/>
                <a:ea typeface="ＭＳ Ｐゴシック" pitchFamily="1" charset="-128"/>
              </a:rPr>
              <a:t>How does it perform (the focus of Operational Analytics)</a:t>
            </a:r>
          </a:p>
          <a:p>
            <a:pPr marL="285750" indent="-285750">
              <a:buFont typeface="Arial" panose="020B0604020202020204" pitchFamily="34" charset="0"/>
              <a:buChar char="•"/>
            </a:pPr>
            <a:r>
              <a:rPr lang="en-US" dirty="0">
                <a:solidFill>
                  <a:schemeClr val="bg1"/>
                </a:solidFill>
                <a:latin typeface="Arial" charset="0"/>
                <a:ea typeface="ＭＳ Ｐゴシック" pitchFamily="1" charset="-128"/>
              </a:rPr>
              <a:t>How do we best improve performance as we’ve operationally defined it?  (e.g. </a:t>
            </a:r>
            <a:r>
              <a:rPr lang="en-US" dirty="0" err="1">
                <a:solidFill>
                  <a:schemeClr val="bg1"/>
                </a:solidFill>
                <a:latin typeface="Arial" charset="0"/>
                <a:ea typeface="ＭＳ Ｐゴシック" pitchFamily="1" charset="-128"/>
              </a:rPr>
              <a:t>mAIc</a:t>
            </a:r>
            <a:r>
              <a:rPr lang="en-US" dirty="0">
                <a:solidFill>
                  <a:schemeClr val="bg1"/>
                </a:solidFill>
                <a:latin typeface="Arial" charset="0"/>
                <a:ea typeface="ＭＳ Ｐゴシック" pitchFamily="1" charset="-128"/>
              </a:rPr>
              <a:t>)</a:t>
            </a:r>
          </a:p>
          <a:p>
            <a:pPr marL="285750" indent="-285750">
              <a:buFont typeface="Arial" panose="020B0604020202020204" pitchFamily="34" charset="0"/>
              <a:buChar char="•"/>
            </a:pPr>
            <a:r>
              <a:rPr kumimoji="0" lang="en-US" b="0" i="0" u="none" strike="noStrike" cap="none" normalizeH="0" baseline="0" dirty="0">
                <a:ln>
                  <a:noFill/>
                </a:ln>
                <a:solidFill>
                  <a:schemeClr val="bg1"/>
                </a:solidFill>
                <a:effectLst/>
                <a:latin typeface="Arial" charset="0"/>
                <a:ea typeface="ＭＳ Ｐゴシック" pitchFamily="1" charset="-128"/>
              </a:rPr>
              <a:t>Is Enterprise Value Growing?  How do we know?</a:t>
            </a:r>
          </a:p>
        </p:txBody>
      </p:sp>
    </p:spTree>
    <p:extLst>
      <p:ext uri="{BB962C8B-B14F-4D97-AF65-F5344CB8AC3E}">
        <p14:creationId xmlns:p14="http://schemas.microsoft.com/office/powerpoint/2010/main" val="29946978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E590AAF4-5EC4-4395-B45C-55DFFA5E7CAD}"/>
              </a:ext>
            </a:extLst>
          </p:cNvPr>
          <p:cNvSpPr>
            <a:spLocks noGrp="1"/>
          </p:cNvSpPr>
          <p:nvPr>
            <p:ph type="title"/>
          </p:nvPr>
        </p:nvSpPr>
        <p:spPr>
          <a:xfrm>
            <a:off x="457200" y="123825"/>
            <a:ext cx="7940675" cy="1095375"/>
          </a:xfrm>
        </p:spPr>
        <p:txBody>
          <a:bodyPr/>
          <a:lstStyle/>
          <a:p>
            <a:pPr eaLnBrk="1" hangingPunct="1"/>
            <a:r>
              <a:rPr lang="en-US" altLang="en-US" sz="2800" dirty="0"/>
              <a:t>The Management Systems Model—who Manages, what’s managed, how we manage</a:t>
            </a:r>
          </a:p>
        </p:txBody>
      </p:sp>
      <p:sp>
        <p:nvSpPr>
          <p:cNvPr id="68627" name="AutoShape 4" descr="Image result for sheet metal clip art">
            <a:extLst>
              <a:ext uri="{FF2B5EF4-FFF2-40B4-BE49-F238E27FC236}">
                <a16:creationId xmlns:a16="http://schemas.microsoft.com/office/drawing/2014/main" id="{D1F70884-71A7-4970-8B78-63ACFA602C64}"/>
              </a:ext>
            </a:extLst>
          </p:cNvPr>
          <p:cNvSpPr>
            <a:spLocks noChangeAspect="1" noChangeArrowheads="1"/>
          </p:cNvSpPr>
          <p:nvPr/>
        </p:nvSpPr>
        <p:spPr bwMode="auto">
          <a:xfrm>
            <a:off x="307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solidFill>
                <a:srgbClr val="000000"/>
              </a:solidFill>
            </a:endParaRPr>
          </a:p>
        </p:txBody>
      </p:sp>
      <p:grpSp>
        <p:nvGrpSpPr>
          <p:cNvPr id="2" name="Group 1">
            <a:extLst>
              <a:ext uri="{FF2B5EF4-FFF2-40B4-BE49-F238E27FC236}">
                <a16:creationId xmlns:a16="http://schemas.microsoft.com/office/drawing/2014/main" id="{C6219531-88F5-40A5-A039-B586DA3EC594}"/>
              </a:ext>
            </a:extLst>
          </p:cNvPr>
          <p:cNvGrpSpPr/>
          <p:nvPr/>
        </p:nvGrpSpPr>
        <p:grpSpPr>
          <a:xfrm>
            <a:off x="66675" y="1589088"/>
            <a:ext cx="8848725" cy="5132387"/>
            <a:chOff x="66675" y="1589088"/>
            <a:chExt cx="8848725" cy="5132387"/>
          </a:xfrm>
        </p:grpSpPr>
        <p:sp>
          <p:nvSpPr>
            <p:cNvPr id="5" name="Oval 4">
              <a:extLst>
                <a:ext uri="{FF2B5EF4-FFF2-40B4-BE49-F238E27FC236}">
                  <a16:creationId xmlns:a16="http://schemas.microsoft.com/office/drawing/2014/main" id="{1CFCAD91-B0F7-4F0D-A039-4E997C3137E9}"/>
                </a:ext>
              </a:extLst>
            </p:cNvPr>
            <p:cNvSpPr/>
            <p:nvPr/>
          </p:nvSpPr>
          <p:spPr>
            <a:xfrm>
              <a:off x="2382838" y="4813300"/>
              <a:ext cx="3962400" cy="1908175"/>
            </a:xfrm>
            <a:prstGeom prst="ellipse">
              <a:avLst/>
            </a:prstGeom>
            <a:solidFill>
              <a:schemeClr val="tx2">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800" b="1" dirty="0">
                  <a:solidFill>
                    <a:prstClr val="white"/>
                  </a:solidFill>
                </a:rPr>
                <a:t>The Business Processes/Value Streams</a:t>
              </a:r>
            </a:p>
            <a:p>
              <a:pPr algn="ctr" fontAlgn="auto">
                <a:spcBef>
                  <a:spcPts val="0"/>
                </a:spcBef>
                <a:spcAft>
                  <a:spcPts val="0"/>
                </a:spcAft>
                <a:defRPr/>
              </a:pPr>
              <a:endParaRPr lang="en-US" sz="1800" dirty="0">
                <a:solidFill>
                  <a:prstClr val="white"/>
                </a:solidFill>
              </a:endParaRPr>
            </a:p>
          </p:txBody>
        </p:sp>
        <p:sp>
          <p:nvSpPr>
            <p:cNvPr id="8" name="Right Arrow 7">
              <a:extLst>
                <a:ext uri="{FF2B5EF4-FFF2-40B4-BE49-F238E27FC236}">
                  <a16:creationId xmlns:a16="http://schemas.microsoft.com/office/drawing/2014/main" id="{A31D1CF0-F471-413F-8950-7C34FED0A775}"/>
                </a:ext>
              </a:extLst>
            </p:cNvPr>
            <p:cNvSpPr/>
            <p:nvPr/>
          </p:nvSpPr>
          <p:spPr>
            <a:xfrm>
              <a:off x="1670050" y="5357813"/>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9" name="Right Arrow 8">
              <a:extLst>
                <a:ext uri="{FF2B5EF4-FFF2-40B4-BE49-F238E27FC236}">
                  <a16:creationId xmlns:a16="http://schemas.microsoft.com/office/drawing/2014/main" id="{CE26577A-1A83-459D-9D29-595E63A23AB9}"/>
                </a:ext>
              </a:extLst>
            </p:cNvPr>
            <p:cNvSpPr/>
            <p:nvPr/>
          </p:nvSpPr>
          <p:spPr>
            <a:xfrm>
              <a:off x="6019800" y="5357752"/>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Cloud 9">
              <a:extLst>
                <a:ext uri="{FF2B5EF4-FFF2-40B4-BE49-F238E27FC236}">
                  <a16:creationId xmlns:a16="http://schemas.microsoft.com/office/drawing/2014/main" id="{B248822B-B4B5-4968-BE76-F9CCBFF3EF29}"/>
                </a:ext>
              </a:extLst>
            </p:cNvPr>
            <p:cNvSpPr/>
            <p:nvPr/>
          </p:nvSpPr>
          <p:spPr>
            <a:xfrm>
              <a:off x="79375" y="4886325"/>
              <a:ext cx="1597025"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Upstream Systems and Inputs:</a:t>
              </a:r>
            </a:p>
            <a:p>
              <a:pPr algn="ctr" fontAlgn="auto">
                <a:spcBef>
                  <a:spcPts val="0"/>
                </a:spcBef>
                <a:spcAft>
                  <a:spcPts val="0"/>
                </a:spcAft>
                <a:defRPr/>
              </a:pPr>
              <a:r>
                <a:rPr lang="en-US" sz="1200" b="1" dirty="0">
                  <a:solidFill>
                    <a:prstClr val="white"/>
                  </a:solidFill>
                </a:rPr>
                <a:t>Suppliers &amp; customer orders</a:t>
              </a:r>
            </a:p>
          </p:txBody>
        </p:sp>
        <p:sp>
          <p:nvSpPr>
            <p:cNvPr id="11" name="Cloud 10">
              <a:extLst>
                <a:ext uri="{FF2B5EF4-FFF2-40B4-BE49-F238E27FC236}">
                  <a16:creationId xmlns:a16="http://schemas.microsoft.com/office/drawing/2014/main" id="{F9F73316-CB56-4185-991C-03119509D8E3}"/>
                </a:ext>
              </a:extLst>
            </p:cNvPr>
            <p:cNvSpPr/>
            <p:nvPr/>
          </p:nvSpPr>
          <p:spPr>
            <a:xfrm>
              <a:off x="7086600" y="4948238"/>
              <a:ext cx="1828800"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Downstream Systems and Outputs:</a:t>
              </a:r>
            </a:p>
            <a:p>
              <a:pPr algn="ctr" fontAlgn="auto">
                <a:spcBef>
                  <a:spcPts val="0"/>
                </a:spcBef>
                <a:spcAft>
                  <a:spcPts val="0"/>
                </a:spcAft>
                <a:defRPr/>
              </a:pPr>
              <a:r>
                <a:rPr lang="en-US" sz="1200" b="1" dirty="0">
                  <a:solidFill>
                    <a:prstClr val="white"/>
                  </a:solidFill>
                </a:rPr>
                <a:t>Orders Fulfilled</a:t>
              </a:r>
            </a:p>
          </p:txBody>
        </p:sp>
        <p:cxnSp>
          <p:nvCxnSpPr>
            <p:cNvPr id="16" name="Straight Arrow Connector 15">
              <a:extLst>
                <a:ext uri="{FF2B5EF4-FFF2-40B4-BE49-F238E27FC236}">
                  <a16:creationId xmlns:a16="http://schemas.microsoft.com/office/drawing/2014/main" id="{ECFD1F2F-4772-448A-899E-933B87CD8A36}"/>
                </a:ext>
              </a:extLst>
            </p:cNvPr>
            <p:cNvCxnSpPr/>
            <p:nvPr/>
          </p:nvCxnSpPr>
          <p:spPr>
            <a:xfrm flipV="1">
              <a:off x="6056313" y="3556000"/>
              <a:ext cx="862012" cy="1485900"/>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21" name="Oval 20">
              <a:extLst>
                <a:ext uri="{FF2B5EF4-FFF2-40B4-BE49-F238E27FC236}">
                  <a16:creationId xmlns:a16="http://schemas.microsoft.com/office/drawing/2014/main" id="{AFACE195-A7A4-4C23-896A-042A86F95A70}"/>
                </a:ext>
              </a:extLst>
            </p:cNvPr>
            <p:cNvSpPr/>
            <p:nvPr/>
          </p:nvSpPr>
          <p:spPr>
            <a:xfrm>
              <a:off x="6299200" y="1863725"/>
              <a:ext cx="2463800" cy="1639888"/>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400" b="1" dirty="0">
                  <a:solidFill>
                    <a:prstClr val="white"/>
                  </a:solidFill>
                </a:rPr>
                <a:t>Data management and Operational Analytics</a:t>
              </a:r>
            </a:p>
            <a:p>
              <a:pPr algn="ctr" fontAlgn="auto">
                <a:spcBef>
                  <a:spcPts val="0"/>
                </a:spcBef>
                <a:spcAft>
                  <a:spcPts val="0"/>
                </a:spcAft>
                <a:defRPr/>
              </a:pPr>
              <a:endParaRPr lang="en-US" sz="1800" dirty="0">
                <a:solidFill>
                  <a:prstClr val="white"/>
                </a:solidFill>
              </a:endParaRPr>
            </a:p>
          </p:txBody>
        </p:sp>
        <p:sp>
          <p:nvSpPr>
            <p:cNvPr id="23" name="Explosion 1 22">
              <a:extLst>
                <a:ext uri="{FF2B5EF4-FFF2-40B4-BE49-F238E27FC236}">
                  <a16:creationId xmlns:a16="http://schemas.microsoft.com/office/drawing/2014/main" id="{48773753-88F0-4030-85B1-0FAD47D42813}"/>
                </a:ext>
              </a:extLst>
            </p:cNvPr>
            <p:cNvSpPr/>
            <p:nvPr/>
          </p:nvSpPr>
          <p:spPr>
            <a:xfrm>
              <a:off x="6689725" y="3584575"/>
              <a:ext cx="1216025" cy="954088"/>
            </a:xfrm>
            <a:prstGeom prst="irregularSeal1">
              <a:avLst/>
            </a:prstGeom>
            <a:solidFill>
              <a:schemeClr val="bg2">
                <a:lumMod val="7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entry</a:t>
              </a:r>
            </a:p>
          </p:txBody>
        </p:sp>
        <p:sp>
          <p:nvSpPr>
            <p:cNvPr id="26" name="Bent Arrow 25">
              <a:extLst>
                <a:ext uri="{FF2B5EF4-FFF2-40B4-BE49-F238E27FC236}">
                  <a16:creationId xmlns:a16="http://schemas.microsoft.com/office/drawing/2014/main" id="{3C7B199D-F5CD-4DAC-A1DF-509104F6EB75}"/>
                </a:ext>
              </a:extLst>
            </p:cNvPr>
            <p:cNvSpPr/>
            <p:nvPr/>
          </p:nvSpPr>
          <p:spPr>
            <a:xfrm rot="3508160" flipH="1">
              <a:off x="7785101" y="3506787"/>
              <a:ext cx="557212" cy="442913"/>
            </a:xfrm>
            <a:prstGeom prst="bentArrow">
              <a:avLst>
                <a:gd name="adj1" fmla="val 18742"/>
                <a:gd name="adj2" fmla="val 26648"/>
                <a:gd name="adj3" fmla="val 37505"/>
                <a:gd name="adj4" fmla="val 38805"/>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black"/>
                </a:solidFill>
              </a:endParaRPr>
            </a:p>
          </p:txBody>
        </p:sp>
        <p:cxnSp>
          <p:nvCxnSpPr>
            <p:cNvPr id="34" name="Straight Arrow Connector 33">
              <a:extLst>
                <a:ext uri="{FF2B5EF4-FFF2-40B4-BE49-F238E27FC236}">
                  <a16:creationId xmlns:a16="http://schemas.microsoft.com/office/drawing/2014/main" id="{9DBFCDF8-7155-48EA-8DD3-1EFD4EEFE83C}"/>
                </a:ext>
              </a:extLst>
            </p:cNvPr>
            <p:cNvCxnSpPr/>
            <p:nvPr/>
          </p:nvCxnSpPr>
          <p:spPr>
            <a:xfrm flipH="1">
              <a:off x="2700338" y="2851150"/>
              <a:ext cx="3409950" cy="7938"/>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39" name="Oval 38">
              <a:extLst>
                <a:ext uri="{FF2B5EF4-FFF2-40B4-BE49-F238E27FC236}">
                  <a16:creationId xmlns:a16="http://schemas.microsoft.com/office/drawing/2014/main" id="{89B5AFD2-24B7-463A-A991-FD59943D6F40}"/>
                </a:ext>
              </a:extLst>
            </p:cNvPr>
            <p:cNvSpPr/>
            <p:nvPr/>
          </p:nvSpPr>
          <p:spPr>
            <a:xfrm>
              <a:off x="66675" y="1698625"/>
              <a:ext cx="2633663" cy="1673225"/>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200" b="1" dirty="0">
                  <a:solidFill>
                    <a:prstClr val="white"/>
                  </a:solidFill>
                </a:rPr>
                <a:t>Leadership &amp; management team</a:t>
              </a:r>
            </a:p>
            <a:p>
              <a:pPr algn="ctr" fontAlgn="auto">
                <a:spcBef>
                  <a:spcPts val="0"/>
                </a:spcBef>
                <a:spcAft>
                  <a:spcPts val="0"/>
                </a:spcAft>
                <a:defRPr/>
              </a:pPr>
              <a:endParaRPr lang="en-US" sz="1200" b="1" dirty="0">
                <a:solidFill>
                  <a:prstClr val="white"/>
                </a:solidFill>
              </a:endParaRPr>
            </a:p>
            <a:p>
              <a:pPr algn="ctr" fontAlgn="auto">
                <a:spcBef>
                  <a:spcPts val="0"/>
                </a:spcBef>
                <a:spcAft>
                  <a:spcPts val="0"/>
                </a:spcAft>
                <a:defRPr/>
              </a:pPr>
              <a:r>
                <a:rPr lang="en-US" sz="1200" dirty="0">
                  <a:solidFill>
                    <a:prstClr val="white"/>
                  </a:solidFill>
                </a:rPr>
                <a:t>(wisdom application, data/facts to information conversion process)</a:t>
              </a:r>
            </a:p>
            <a:p>
              <a:pPr algn="ctr" fontAlgn="auto">
                <a:spcBef>
                  <a:spcPts val="0"/>
                </a:spcBef>
                <a:spcAft>
                  <a:spcPts val="0"/>
                </a:spcAft>
                <a:defRPr/>
              </a:pPr>
              <a:endParaRPr lang="en-US" sz="1600" dirty="0">
                <a:solidFill>
                  <a:prstClr val="white"/>
                </a:solidFill>
              </a:endParaRPr>
            </a:p>
          </p:txBody>
        </p:sp>
        <p:cxnSp>
          <p:nvCxnSpPr>
            <p:cNvPr id="41" name="Straight Arrow Connector 40">
              <a:extLst>
                <a:ext uri="{FF2B5EF4-FFF2-40B4-BE49-F238E27FC236}">
                  <a16:creationId xmlns:a16="http://schemas.microsoft.com/office/drawing/2014/main" id="{EE7833D6-17C3-45A9-B47E-B79684DC2B8B}"/>
                </a:ext>
              </a:extLst>
            </p:cNvPr>
            <p:cNvCxnSpPr/>
            <p:nvPr/>
          </p:nvCxnSpPr>
          <p:spPr>
            <a:xfrm>
              <a:off x="1609725" y="3503613"/>
              <a:ext cx="1308100" cy="1406525"/>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25" name="Explosion 1 24">
              <a:extLst>
                <a:ext uri="{FF2B5EF4-FFF2-40B4-BE49-F238E27FC236}">
                  <a16:creationId xmlns:a16="http://schemas.microsoft.com/office/drawing/2014/main" id="{2B41229C-F5CD-4E4E-B684-7F2083F6FB50}"/>
                </a:ext>
              </a:extLst>
            </p:cNvPr>
            <p:cNvSpPr/>
            <p:nvPr/>
          </p:nvSpPr>
          <p:spPr>
            <a:xfrm>
              <a:off x="5245100" y="3913188"/>
              <a:ext cx="1174750" cy="952500"/>
            </a:xfrm>
            <a:prstGeom prst="irregularSeal1">
              <a:avLst/>
            </a:prstGeom>
            <a:solidFill>
              <a:schemeClr val="bg2">
                <a:lumMod val="7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29" name="Explosion 1 28">
              <a:extLst>
                <a:ext uri="{FF2B5EF4-FFF2-40B4-BE49-F238E27FC236}">
                  <a16:creationId xmlns:a16="http://schemas.microsoft.com/office/drawing/2014/main" id="{4DDD79A7-7543-4ECD-A368-E9ACD507C43E}"/>
                </a:ext>
              </a:extLst>
            </p:cNvPr>
            <p:cNvSpPr/>
            <p:nvPr/>
          </p:nvSpPr>
          <p:spPr>
            <a:xfrm>
              <a:off x="4608513" y="1778000"/>
              <a:ext cx="1712912" cy="1103313"/>
            </a:xfrm>
            <a:prstGeom prst="irregularSeal1">
              <a:avLst/>
            </a:prstGeom>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srgbClr val="1F497D">
                      <a:lumMod val="50000"/>
                    </a:srgbClr>
                  </a:solidFill>
                </a:rPr>
                <a:t>Information portrayal</a:t>
              </a:r>
            </a:p>
          </p:txBody>
        </p:sp>
        <p:sp>
          <p:nvSpPr>
            <p:cNvPr id="30" name="Explosion 1 29">
              <a:extLst>
                <a:ext uri="{FF2B5EF4-FFF2-40B4-BE49-F238E27FC236}">
                  <a16:creationId xmlns:a16="http://schemas.microsoft.com/office/drawing/2014/main" id="{BFCB82B5-6012-401F-8659-BCA91AB63664}"/>
                </a:ext>
              </a:extLst>
            </p:cNvPr>
            <p:cNvSpPr/>
            <p:nvPr/>
          </p:nvSpPr>
          <p:spPr>
            <a:xfrm>
              <a:off x="2736850" y="1589088"/>
              <a:ext cx="1911350" cy="1398587"/>
            </a:xfrm>
            <a:prstGeom prst="irregularSeal1">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srgbClr val="1F497D">
                      <a:lumMod val="50000"/>
                    </a:srgbClr>
                  </a:solidFill>
                </a:rPr>
                <a:t>Information perception/ understanding/ insights</a:t>
              </a:r>
            </a:p>
          </p:txBody>
        </p:sp>
        <p:sp>
          <p:nvSpPr>
            <p:cNvPr id="31" name="Explosion 1 30">
              <a:extLst>
                <a:ext uri="{FF2B5EF4-FFF2-40B4-BE49-F238E27FC236}">
                  <a16:creationId xmlns:a16="http://schemas.microsoft.com/office/drawing/2014/main" id="{9A8B9EA3-F8E1-4010-BDD7-B509149F0D8B}"/>
                </a:ext>
              </a:extLst>
            </p:cNvPr>
            <p:cNvSpPr/>
            <p:nvPr/>
          </p:nvSpPr>
          <p:spPr>
            <a:xfrm>
              <a:off x="501650" y="3449638"/>
              <a:ext cx="1325563" cy="949325"/>
            </a:xfrm>
            <a:prstGeom prst="irregularSeal1">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080000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Decisions</a:t>
              </a:r>
            </a:p>
          </p:txBody>
        </p:sp>
        <p:sp>
          <p:nvSpPr>
            <p:cNvPr id="32" name="Explosion 1 31">
              <a:extLst>
                <a:ext uri="{FF2B5EF4-FFF2-40B4-BE49-F238E27FC236}">
                  <a16:creationId xmlns:a16="http://schemas.microsoft.com/office/drawing/2014/main" id="{96CC856B-486B-4F24-8F23-CA9FC6162F9C}"/>
                </a:ext>
              </a:extLst>
            </p:cNvPr>
            <p:cNvSpPr/>
            <p:nvPr/>
          </p:nvSpPr>
          <p:spPr>
            <a:xfrm>
              <a:off x="2165350" y="3589338"/>
              <a:ext cx="1325563" cy="947737"/>
            </a:xfrm>
            <a:prstGeom prst="irregularSeal1">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Actions</a:t>
              </a:r>
            </a:p>
          </p:txBody>
        </p:sp>
        <p:pic>
          <p:nvPicPr>
            <p:cNvPr id="68633" name="Picture 27" descr="Image result for value stream map simple images">
              <a:extLst>
                <a:ext uri="{FF2B5EF4-FFF2-40B4-BE49-F238E27FC236}">
                  <a16:creationId xmlns:a16="http://schemas.microsoft.com/office/drawing/2014/main" id="{1031AA4C-A6FD-4C7C-A144-B6C83431A0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321" t="14018" r="6564" b="7230"/>
            <a:stretch>
              <a:fillRect/>
            </a:stretch>
          </p:blipFill>
          <p:spPr bwMode="auto">
            <a:xfrm>
              <a:off x="2827338" y="6062663"/>
              <a:ext cx="3005137"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190983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E590AAF4-5EC4-4395-B45C-55DFFA5E7CAD}"/>
              </a:ext>
            </a:extLst>
          </p:cNvPr>
          <p:cNvSpPr>
            <a:spLocks noGrp="1"/>
          </p:cNvSpPr>
          <p:nvPr>
            <p:ph type="title"/>
          </p:nvPr>
        </p:nvSpPr>
        <p:spPr>
          <a:xfrm>
            <a:off x="457200" y="123825"/>
            <a:ext cx="7940675" cy="1095375"/>
          </a:xfrm>
        </p:spPr>
        <p:txBody>
          <a:bodyPr/>
          <a:lstStyle/>
          <a:p>
            <a:pPr eaLnBrk="1" hangingPunct="1"/>
            <a:r>
              <a:rPr lang="en-US" altLang="en-US" sz="2800" dirty="0"/>
              <a:t>The Organizational System—What’s being Managed</a:t>
            </a:r>
          </a:p>
        </p:txBody>
      </p:sp>
      <p:sp>
        <p:nvSpPr>
          <p:cNvPr id="5" name="Oval 4">
            <a:extLst>
              <a:ext uri="{FF2B5EF4-FFF2-40B4-BE49-F238E27FC236}">
                <a16:creationId xmlns:a16="http://schemas.microsoft.com/office/drawing/2014/main" id="{1CFCAD91-B0F7-4F0D-A039-4E997C3137E9}"/>
              </a:ext>
            </a:extLst>
          </p:cNvPr>
          <p:cNvSpPr/>
          <p:nvPr/>
        </p:nvSpPr>
        <p:spPr>
          <a:xfrm>
            <a:off x="2382838" y="4813300"/>
            <a:ext cx="3962400" cy="1908175"/>
          </a:xfrm>
          <a:prstGeom prst="ellipse">
            <a:avLst/>
          </a:prstGeom>
          <a:solidFill>
            <a:schemeClr val="tx2">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800" b="1" dirty="0">
                <a:solidFill>
                  <a:prstClr val="white"/>
                </a:solidFill>
              </a:rPr>
              <a:t>The Business Processes/Value Streams</a:t>
            </a:r>
          </a:p>
          <a:p>
            <a:pPr algn="ctr" fontAlgn="auto">
              <a:spcBef>
                <a:spcPts val="0"/>
              </a:spcBef>
              <a:spcAft>
                <a:spcPts val="0"/>
              </a:spcAft>
              <a:defRPr/>
            </a:pPr>
            <a:endParaRPr lang="en-US" sz="1800" dirty="0">
              <a:solidFill>
                <a:prstClr val="white"/>
              </a:solidFill>
            </a:endParaRPr>
          </a:p>
        </p:txBody>
      </p:sp>
      <p:sp>
        <p:nvSpPr>
          <p:cNvPr id="8" name="Right Arrow 7">
            <a:extLst>
              <a:ext uri="{FF2B5EF4-FFF2-40B4-BE49-F238E27FC236}">
                <a16:creationId xmlns:a16="http://schemas.microsoft.com/office/drawing/2014/main" id="{A31D1CF0-F471-413F-8950-7C34FED0A775}"/>
              </a:ext>
            </a:extLst>
          </p:cNvPr>
          <p:cNvSpPr/>
          <p:nvPr/>
        </p:nvSpPr>
        <p:spPr>
          <a:xfrm>
            <a:off x="1670050" y="5357813"/>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9" name="Right Arrow 8">
            <a:extLst>
              <a:ext uri="{FF2B5EF4-FFF2-40B4-BE49-F238E27FC236}">
                <a16:creationId xmlns:a16="http://schemas.microsoft.com/office/drawing/2014/main" id="{CE26577A-1A83-459D-9D29-595E63A23AB9}"/>
              </a:ext>
            </a:extLst>
          </p:cNvPr>
          <p:cNvSpPr/>
          <p:nvPr/>
        </p:nvSpPr>
        <p:spPr>
          <a:xfrm>
            <a:off x="6019800" y="5357752"/>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Cloud 9">
            <a:extLst>
              <a:ext uri="{FF2B5EF4-FFF2-40B4-BE49-F238E27FC236}">
                <a16:creationId xmlns:a16="http://schemas.microsoft.com/office/drawing/2014/main" id="{B248822B-B4B5-4968-BE76-F9CCBFF3EF29}"/>
              </a:ext>
            </a:extLst>
          </p:cNvPr>
          <p:cNvSpPr/>
          <p:nvPr/>
        </p:nvSpPr>
        <p:spPr>
          <a:xfrm>
            <a:off x="79375" y="4886325"/>
            <a:ext cx="1597025"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Upstream Systems and Inputs:</a:t>
            </a:r>
          </a:p>
          <a:p>
            <a:pPr algn="ctr" fontAlgn="auto">
              <a:spcBef>
                <a:spcPts val="0"/>
              </a:spcBef>
              <a:spcAft>
                <a:spcPts val="0"/>
              </a:spcAft>
              <a:defRPr/>
            </a:pPr>
            <a:r>
              <a:rPr lang="en-US" sz="1200" b="1" dirty="0">
                <a:solidFill>
                  <a:prstClr val="white"/>
                </a:solidFill>
              </a:rPr>
              <a:t>Suppliers &amp; customer orders</a:t>
            </a:r>
          </a:p>
        </p:txBody>
      </p:sp>
      <p:sp>
        <p:nvSpPr>
          <p:cNvPr id="11" name="Cloud 10">
            <a:extLst>
              <a:ext uri="{FF2B5EF4-FFF2-40B4-BE49-F238E27FC236}">
                <a16:creationId xmlns:a16="http://schemas.microsoft.com/office/drawing/2014/main" id="{F9F73316-CB56-4185-991C-03119509D8E3}"/>
              </a:ext>
            </a:extLst>
          </p:cNvPr>
          <p:cNvSpPr/>
          <p:nvPr/>
        </p:nvSpPr>
        <p:spPr>
          <a:xfrm>
            <a:off x="7086600" y="4948238"/>
            <a:ext cx="1828800"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Downstream Systems and Outputs:</a:t>
            </a:r>
          </a:p>
          <a:p>
            <a:pPr algn="ctr" fontAlgn="auto">
              <a:spcBef>
                <a:spcPts val="0"/>
              </a:spcBef>
              <a:spcAft>
                <a:spcPts val="0"/>
              </a:spcAft>
              <a:defRPr/>
            </a:pPr>
            <a:r>
              <a:rPr lang="en-US" sz="1200" b="1" dirty="0">
                <a:solidFill>
                  <a:prstClr val="white"/>
                </a:solidFill>
              </a:rPr>
              <a:t>Orders Fulfilled</a:t>
            </a:r>
          </a:p>
        </p:txBody>
      </p:sp>
      <p:sp>
        <p:nvSpPr>
          <p:cNvPr id="68627" name="AutoShape 4" descr="Image result for sheet metal clip art">
            <a:extLst>
              <a:ext uri="{FF2B5EF4-FFF2-40B4-BE49-F238E27FC236}">
                <a16:creationId xmlns:a16="http://schemas.microsoft.com/office/drawing/2014/main" id="{D1F70884-71A7-4970-8B78-63ACFA602C64}"/>
              </a:ext>
            </a:extLst>
          </p:cNvPr>
          <p:cNvSpPr>
            <a:spLocks noChangeAspect="1" noChangeArrowheads="1"/>
          </p:cNvSpPr>
          <p:nvPr/>
        </p:nvSpPr>
        <p:spPr bwMode="auto">
          <a:xfrm>
            <a:off x="307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solidFill>
                <a:srgbClr val="000000"/>
              </a:solidFill>
            </a:endParaRPr>
          </a:p>
        </p:txBody>
      </p:sp>
      <p:pic>
        <p:nvPicPr>
          <p:cNvPr id="68633" name="Picture 27" descr="Image result for value stream map simple images">
            <a:extLst>
              <a:ext uri="{FF2B5EF4-FFF2-40B4-BE49-F238E27FC236}">
                <a16:creationId xmlns:a16="http://schemas.microsoft.com/office/drawing/2014/main" id="{1031AA4C-A6FD-4C7C-A144-B6C83431A0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321" t="14018" r="6564" b="7230"/>
          <a:stretch>
            <a:fillRect/>
          </a:stretch>
        </p:blipFill>
        <p:spPr bwMode="auto">
          <a:xfrm>
            <a:off x="2827338" y="6062663"/>
            <a:ext cx="3005137"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95A2857F-094A-4BB6-9789-29DEA1A2BA45}"/>
              </a:ext>
            </a:extLst>
          </p:cNvPr>
          <p:cNvSpPr/>
          <p:nvPr/>
        </p:nvSpPr>
        <p:spPr>
          <a:xfrm>
            <a:off x="990600" y="1909762"/>
            <a:ext cx="7086600" cy="2493902"/>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n Extended Enterprise</a:t>
            </a:r>
          </a:p>
          <a:p>
            <a:pPr algn="ctr"/>
            <a:r>
              <a:rPr lang="en-US" dirty="0"/>
              <a:t>An Org Unit</a:t>
            </a:r>
          </a:p>
          <a:p>
            <a:pPr algn="ctr"/>
            <a:r>
              <a:rPr lang="en-US" dirty="0"/>
              <a:t>An Extended Value Stream</a:t>
            </a:r>
          </a:p>
          <a:p>
            <a:pPr algn="ctr"/>
            <a:r>
              <a:rPr lang="en-US" dirty="0"/>
              <a:t>A Value Stream or Business Process</a:t>
            </a:r>
          </a:p>
          <a:p>
            <a:pPr algn="ctr"/>
            <a:r>
              <a:rPr lang="en-US" dirty="0"/>
              <a:t>An embedded Value Stream or Process</a:t>
            </a:r>
          </a:p>
          <a:p>
            <a:pPr algn="ctr"/>
            <a:r>
              <a:rPr lang="en-US" dirty="0"/>
              <a:t>A sub-process</a:t>
            </a:r>
          </a:p>
        </p:txBody>
      </p:sp>
    </p:spTree>
    <p:extLst>
      <p:ext uri="{BB962C8B-B14F-4D97-AF65-F5344CB8AC3E}">
        <p14:creationId xmlns:p14="http://schemas.microsoft.com/office/powerpoint/2010/main" val="123354194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0"/>
                                        </p:tgtEl>
                                        <p:attrNameLst>
                                          <p:attrName>style.visibility</p:attrName>
                                        </p:attrNameLst>
                                      </p:cBhvr>
                                      <p:to>
                                        <p:strVal val="visible"/>
                                      </p:to>
                                    </p:set>
                                  </p:childTnLst>
                                </p:cTn>
                              </p:par>
                            </p:childTnLst>
                          </p:cTn>
                        </p:par>
                        <p:par>
                          <p:cTn id="7" fill="hold" nodeType="afterGroup">
                            <p:stCondLst>
                              <p:cond delay="500"/>
                            </p:stCondLst>
                            <p:childTnLst>
                              <p:par>
                                <p:cTn id="8" presetID="1" presetClass="entr" presetSubtype="0" fill="hold" grpId="0" nodeType="afterEffect">
                                  <p:stCondLst>
                                    <p:cond delay="0"/>
                                  </p:stCondLst>
                                  <p:childTnLst>
                                    <p:set>
                                      <p:cBhvr>
                                        <p:cTn id="9" dur="1" fill="hold">
                                          <p:stCondLst>
                                            <p:cond delay="499"/>
                                          </p:stCondLst>
                                        </p:cTn>
                                        <p:tgtEl>
                                          <p:spTgt spid="8"/>
                                        </p:tgtEl>
                                        <p:attrNameLst>
                                          <p:attrName>style.visibility</p:attrName>
                                        </p:attrNameLst>
                                      </p:cBhvr>
                                      <p:to>
                                        <p:strVal val="visible"/>
                                      </p:to>
                                    </p:set>
                                  </p:childTnLst>
                                </p:cTn>
                              </p:par>
                            </p:childTnLst>
                          </p:cTn>
                        </p:par>
                        <p:par>
                          <p:cTn id="10" fill="hold" nodeType="afterGroup">
                            <p:stCondLst>
                              <p:cond delay="1000"/>
                            </p:stCondLst>
                            <p:childTnLst>
                              <p:par>
                                <p:cTn id="11" presetID="1" presetClass="entr" presetSubtype="0" fill="hold" grpId="0" nodeType="afterEffect">
                                  <p:stCondLst>
                                    <p:cond delay="0"/>
                                  </p:stCondLst>
                                  <p:childTnLst>
                                    <p:set>
                                      <p:cBhvr>
                                        <p:cTn id="12" dur="1" fill="hold">
                                          <p:stCondLst>
                                            <p:cond delay="499"/>
                                          </p:stCondLst>
                                        </p:cTn>
                                        <p:tgtEl>
                                          <p:spTgt spid="5"/>
                                        </p:tgtEl>
                                        <p:attrNameLst>
                                          <p:attrName>style.visibility</p:attrName>
                                        </p:attrNameLst>
                                      </p:cBhvr>
                                      <p:to>
                                        <p:strVal val="visible"/>
                                      </p:to>
                                    </p:set>
                                  </p:childTnLst>
                                </p:cTn>
                              </p:par>
                            </p:childTnLst>
                          </p:cTn>
                        </p:par>
                        <p:par>
                          <p:cTn id="13" fill="hold" nodeType="afterGroup">
                            <p:stCondLst>
                              <p:cond delay="1500"/>
                            </p:stCondLst>
                            <p:childTnLst>
                              <p:par>
                                <p:cTn id="14" presetID="1" presetClass="entr" presetSubtype="0" fill="hold" nodeType="afterEffect">
                                  <p:stCondLst>
                                    <p:cond delay="0"/>
                                  </p:stCondLst>
                                  <p:childTnLst>
                                    <p:set>
                                      <p:cBhvr>
                                        <p:cTn id="15" dur="1" fill="hold">
                                          <p:stCondLst>
                                            <p:cond delay="499"/>
                                          </p:stCondLst>
                                        </p:cTn>
                                        <p:tgtEl>
                                          <p:spTgt spid="9"/>
                                        </p:tgtEl>
                                        <p:attrNameLst>
                                          <p:attrName>style.visibility</p:attrName>
                                        </p:attrNameLst>
                                      </p:cBhvr>
                                      <p:to>
                                        <p:strVal val="visible"/>
                                      </p:to>
                                    </p:set>
                                  </p:childTnLst>
                                </p:cTn>
                              </p:par>
                            </p:childTnLst>
                          </p:cTn>
                        </p:par>
                        <p:par>
                          <p:cTn id="16" fill="hold" nodeType="afterGroup">
                            <p:stCondLst>
                              <p:cond delay="2000"/>
                            </p:stCondLst>
                            <p:childTnLst>
                              <p:par>
                                <p:cTn id="17" presetID="1" presetClass="entr" presetSubtype="0" fill="hold" grpId="0" nodeType="afterEffect">
                                  <p:stCondLst>
                                    <p:cond delay="0"/>
                                  </p:stCondLst>
                                  <p:childTnLst>
                                    <p:set>
                                      <p:cBhvr>
                                        <p:cTn id="18" dur="1" fill="hold">
                                          <p:stCondLst>
                                            <p:cond delay="499"/>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autoUpdateAnimBg="0"/>
      <p:bldP spid="8" grpId="0" animBg="1" autoUpdateAnimBg="0"/>
      <p:bldP spid="10" grpId="0" animBg="1" autoUpdateAnimBg="0"/>
      <p:bldP spid="11" grpId="0" animBg="1"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A8C38-C040-8FE3-E9D8-AD4A977C834F}"/>
              </a:ext>
            </a:extLst>
          </p:cNvPr>
          <p:cNvSpPr>
            <a:spLocks noGrp="1"/>
          </p:cNvSpPr>
          <p:nvPr>
            <p:ph type="title"/>
          </p:nvPr>
        </p:nvSpPr>
        <p:spPr>
          <a:xfrm>
            <a:off x="381000" y="106597"/>
            <a:ext cx="7886700" cy="1325563"/>
          </a:xfrm>
        </p:spPr>
        <p:txBody>
          <a:bodyPr/>
          <a:lstStyle/>
          <a:p>
            <a:r>
              <a:rPr lang="en-US" dirty="0"/>
              <a:t>Agenda</a:t>
            </a:r>
          </a:p>
        </p:txBody>
      </p:sp>
      <p:sp>
        <p:nvSpPr>
          <p:cNvPr id="3" name="Content Placeholder 2">
            <a:extLst>
              <a:ext uri="{FF2B5EF4-FFF2-40B4-BE49-F238E27FC236}">
                <a16:creationId xmlns:a16="http://schemas.microsoft.com/office/drawing/2014/main" id="{A5A8E09D-F143-AC8C-4127-0ABEDD96C64B}"/>
              </a:ext>
            </a:extLst>
          </p:cNvPr>
          <p:cNvSpPr>
            <a:spLocks noGrp="1"/>
          </p:cNvSpPr>
          <p:nvPr>
            <p:ph idx="1"/>
          </p:nvPr>
        </p:nvSpPr>
        <p:spPr>
          <a:xfrm>
            <a:off x="1143000" y="1219200"/>
            <a:ext cx="6553200" cy="4999038"/>
          </a:xfrm>
        </p:spPr>
        <p:txBody>
          <a:bodyPr>
            <a:normAutofit/>
          </a:bodyPr>
          <a:lstStyle/>
          <a:p>
            <a:pPr marL="0" indent="0">
              <a:lnSpc>
                <a:spcPct val="120000"/>
              </a:lnSpc>
              <a:buNone/>
            </a:pPr>
            <a:endParaRPr lang="en-US" sz="2000" dirty="0"/>
          </a:p>
          <a:p>
            <a:pPr marL="0" indent="0">
              <a:lnSpc>
                <a:spcPct val="120000"/>
              </a:lnSpc>
              <a:buNone/>
            </a:pPr>
            <a:r>
              <a:rPr lang="en-US" sz="2000" dirty="0"/>
              <a:t>11:30-11:40	Scott to ‘tee-up’ the session</a:t>
            </a:r>
          </a:p>
          <a:p>
            <a:pPr marL="0" indent="0">
              <a:lnSpc>
                <a:spcPct val="120000"/>
              </a:lnSpc>
              <a:buNone/>
            </a:pPr>
            <a:endParaRPr lang="en-US" sz="2000" dirty="0"/>
          </a:p>
          <a:p>
            <a:pPr marL="0" indent="0">
              <a:lnSpc>
                <a:spcPct val="120000"/>
              </a:lnSpc>
              <a:buNone/>
            </a:pPr>
            <a:r>
              <a:rPr lang="en-US" sz="2000" dirty="0"/>
              <a:t>11:40-12:10	Operational Analytics Foundations</a:t>
            </a:r>
          </a:p>
          <a:p>
            <a:pPr marL="0" indent="0">
              <a:lnSpc>
                <a:spcPct val="120000"/>
              </a:lnSpc>
              <a:buNone/>
            </a:pPr>
            <a:endParaRPr lang="en-US" sz="2000" dirty="0"/>
          </a:p>
          <a:p>
            <a:pPr marL="0" indent="0">
              <a:lnSpc>
                <a:spcPct val="120000"/>
              </a:lnSpc>
              <a:buNone/>
            </a:pPr>
            <a:r>
              <a:rPr lang="en-US" sz="2000" dirty="0"/>
              <a:t>12:10-12:20	Respond to questions from audience</a:t>
            </a:r>
          </a:p>
          <a:p>
            <a:pPr marL="0" indent="0">
              <a:lnSpc>
                <a:spcPct val="120000"/>
              </a:lnSpc>
              <a:buNone/>
            </a:pPr>
            <a:endParaRPr lang="en-US" sz="2000" dirty="0"/>
          </a:p>
          <a:p>
            <a:pPr marL="0" indent="0">
              <a:lnSpc>
                <a:spcPct val="120000"/>
              </a:lnSpc>
              <a:buNone/>
            </a:pPr>
            <a:r>
              <a:rPr lang="en-US" sz="2000" dirty="0"/>
              <a:t>12:20-12:30	Scott close out and overview what’s 		ahead in June and July</a:t>
            </a:r>
          </a:p>
          <a:p>
            <a:pPr marL="0" indent="0">
              <a:lnSpc>
                <a:spcPct val="120000"/>
              </a:lnSpc>
              <a:buNone/>
            </a:pPr>
            <a:endParaRPr lang="en-US" sz="2000" dirty="0"/>
          </a:p>
        </p:txBody>
      </p:sp>
      <p:sp>
        <p:nvSpPr>
          <p:cNvPr id="4" name="Slide Number Placeholder 3">
            <a:extLst>
              <a:ext uri="{FF2B5EF4-FFF2-40B4-BE49-F238E27FC236}">
                <a16:creationId xmlns:a16="http://schemas.microsoft.com/office/drawing/2014/main" id="{0D32801B-4953-AD99-0B28-C5AEEE8B4903}"/>
              </a:ext>
            </a:extLst>
          </p:cNvPr>
          <p:cNvSpPr>
            <a:spLocks noGrp="1"/>
          </p:cNvSpPr>
          <p:nvPr>
            <p:ph type="sldNum" sz="quarter" idx="12"/>
          </p:nvPr>
        </p:nvSpPr>
        <p:spPr/>
        <p:txBody>
          <a:bodyPr/>
          <a:lstStyle/>
          <a:p>
            <a:fld id="{602F7A02-EF0D-4D82-9BFD-3DDF074AABBD}" type="slidenum">
              <a:rPr lang="en-CA" smtClean="0"/>
              <a:t>3</a:t>
            </a:fld>
            <a:endParaRPr lang="en-CA" dirty="0"/>
          </a:p>
        </p:txBody>
      </p:sp>
    </p:spTree>
    <p:extLst>
      <p:ext uri="{BB962C8B-B14F-4D97-AF65-F5344CB8AC3E}">
        <p14:creationId xmlns:p14="http://schemas.microsoft.com/office/powerpoint/2010/main" val="39396401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85B990-AFCE-8D63-680A-40D31BAFBA0B}"/>
              </a:ext>
            </a:extLst>
          </p:cNvPr>
          <p:cNvSpPr>
            <a:spLocks noGrp="1"/>
          </p:cNvSpPr>
          <p:nvPr>
            <p:ph type="title"/>
          </p:nvPr>
        </p:nvSpPr>
        <p:spPr/>
        <p:txBody>
          <a:bodyPr/>
          <a:lstStyle/>
          <a:p>
            <a:r>
              <a:rPr lang="en-US" dirty="0"/>
              <a:t>Methods, Tools to use </a:t>
            </a:r>
          </a:p>
        </p:txBody>
      </p:sp>
      <p:sp>
        <p:nvSpPr>
          <p:cNvPr id="3" name="Content Placeholder 2">
            <a:extLst>
              <a:ext uri="{FF2B5EF4-FFF2-40B4-BE49-F238E27FC236}">
                <a16:creationId xmlns:a16="http://schemas.microsoft.com/office/drawing/2014/main" id="{E8632877-DCB4-E0B0-3E38-81CBF041788D}"/>
              </a:ext>
            </a:extLst>
          </p:cNvPr>
          <p:cNvSpPr>
            <a:spLocks noGrp="1"/>
          </p:cNvSpPr>
          <p:nvPr>
            <p:ph idx="1"/>
          </p:nvPr>
        </p:nvSpPr>
        <p:spPr/>
        <p:txBody>
          <a:bodyPr/>
          <a:lstStyle/>
          <a:p>
            <a:r>
              <a:rPr lang="en-US" sz="2800" dirty="0"/>
              <a:t>SIPOC</a:t>
            </a:r>
          </a:p>
          <a:p>
            <a:r>
              <a:rPr lang="en-US" sz="2800" dirty="0"/>
              <a:t>End2End Value Stream Mapping</a:t>
            </a:r>
          </a:p>
          <a:p>
            <a:r>
              <a:rPr lang="en-US" sz="2800" dirty="0"/>
              <a:t>Business Process Breakdown Structure</a:t>
            </a:r>
          </a:p>
          <a:p>
            <a:r>
              <a:rPr lang="en-US" sz="2800" dirty="0"/>
              <a:t>IDEF</a:t>
            </a:r>
          </a:p>
          <a:p>
            <a:r>
              <a:rPr lang="en-US" sz="2800" dirty="0"/>
              <a:t>Observe, walk the process, structured interviews</a:t>
            </a:r>
          </a:p>
          <a:p>
            <a:r>
              <a:rPr lang="en-US" sz="2800" dirty="0"/>
              <a:t>Butcher Block or Miro the Value Stream/Swim Lane</a:t>
            </a:r>
          </a:p>
          <a:p>
            <a:r>
              <a:rPr lang="en-US" sz="2800" dirty="0"/>
              <a:t>“Smart” Visio, use layering to add or take away detail, zoom in and zoom out capability</a:t>
            </a:r>
          </a:p>
        </p:txBody>
      </p:sp>
    </p:spTree>
    <p:extLst>
      <p:ext uri="{BB962C8B-B14F-4D97-AF65-F5344CB8AC3E}">
        <p14:creationId xmlns:p14="http://schemas.microsoft.com/office/powerpoint/2010/main" val="39877545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49A01EDB-CB44-48C5-A701-9A2A65B19EBB}"/>
              </a:ext>
            </a:extLst>
          </p:cNvPr>
          <p:cNvCxnSpPr/>
          <p:nvPr/>
        </p:nvCxnSpPr>
        <p:spPr>
          <a:xfrm flipH="1">
            <a:off x="3700317" y="996352"/>
            <a:ext cx="38971" cy="3849590"/>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A7A8176D-CB1E-43E1-98B8-F234D073051B}"/>
              </a:ext>
            </a:extLst>
          </p:cNvPr>
          <p:cNvSpPr>
            <a:spLocks noGrp="1"/>
          </p:cNvSpPr>
          <p:nvPr>
            <p:ph type="sldNum" sz="quarter" idx="12"/>
          </p:nvPr>
        </p:nvSpPr>
        <p:spPr/>
        <p:txBody>
          <a:bodyPr/>
          <a:lstStyle/>
          <a:p>
            <a:fld id="{B1F560D5-53A7-4969-B8DF-E1F637D39903}" type="slidenum">
              <a:rPr lang="en-CA" smtClean="0"/>
              <a:t>22</a:t>
            </a:fld>
            <a:endParaRPr lang="en-CA"/>
          </a:p>
        </p:txBody>
      </p:sp>
      <p:sp>
        <p:nvSpPr>
          <p:cNvPr id="3" name="Rectangle 2">
            <a:extLst>
              <a:ext uri="{FF2B5EF4-FFF2-40B4-BE49-F238E27FC236}">
                <a16:creationId xmlns:a16="http://schemas.microsoft.com/office/drawing/2014/main" id="{52B1BCE2-F314-457F-BD79-187576F216EF}"/>
              </a:ext>
            </a:extLst>
          </p:cNvPr>
          <p:cNvSpPr/>
          <p:nvPr/>
        </p:nvSpPr>
        <p:spPr>
          <a:xfrm>
            <a:off x="270450" y="1607143"/>
            <a:ext cx="967811" cy="10383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Apply, Nominate, referred from Schools, mentees, BB’s/BB’s, Churches, etc. </a:t>
            </a:r>
          </a:p>
        </p:txBody>
      </p:sp>
      <p:sp>
        <p:nvSpPr>
          <p:cNvPr id="4" name="Rectangle 3">
            <a:extLst>
              <a:ext uri="{FF2B5EF4-FFF2-40B4-BE49-F238E27FC236}">
                <a16:creationId xmlns:a16="http://schemas.microsoft.com/office/drawing/2014/main" id="{9ED3D644-522C-4F7F-940F-7B00AEF72C35}"/>
              </a:ext>
            </a:extLst>
          </p:cNvPr>
          <p:cNvSpPr/>
          <p:nvPr/>
        </p:nvSpPr>
        <p:spPr>
          <a:xfrm>
            <a:off x="270450" y="1357179"/>
            <a:ext cx="967811" cy="19228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DEMAND</a:t>
            </a:r>
          </a:p>
        </p:txBody>
      </p:sp>
      <p:sp>
        <p:nvSpPr>
          <p:cNvPr id="5" name="Rectangle 4">
            <a:extLst>
              <a:ext uri="{FF2B5EF4-FFF2-40B4-BE49-F238E27FC236}">
                <a16:creationId xmlns:a16="http://schemas.microsoft.com/office/drawing/2014/main" id="{B3125026-DB1E-4807-B85D-A73ACF787AC5}"/>
              </a:ext>
            </a:extLst>
          </p:cNvPr>
          <p:cNvSpPr/>
          <p:nvPr/>
        </p:nvSpPr>
        <p:spPr>
          <a:xfrm>
            <a:off x="270448" y="2691926"/>
            <a:ext cx="967811" cy="6858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Young People with 3-5 Adv Childhood Exp. (ACE’s)</a:t>
            </a:r>
          </a:p>
        </p:txBody>
      </p:sp>
      <p:sp>
        <p:nvSpPr>
          <p:cNvPr id="6" name="Arrow: Right 5">
            <a:extLst>
              <a:ext uri="{FF2B5EF4-FFF2-40B4-BE49-F238E27FC236}">
                <a16:creationId xmlns:a16="http://schemas.microsoft.com/office/drawing/2014/main" id="{F1136D27-520B-4ADC-995E-4B0DBDC03FA0}"/>
              </a:ext>
            </a:extLst>
          </p:cNvPr>
          <p:cNvSpPr/>
          <p:nvPr/>
        </p:nvSpPr>
        <p:spPr>
          <a:xfrm>
            <a:off x="1272432" y="2180159"/>
            <a:ext cx="307649" cy="363474"/>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Rectangle 6">
            <a:extLst>
              <a:ext uri="{FF2B5EF4-FFF2-40B4-BE49-F238E27FC236}">
                <a16:creationId xmlns:a16="http://schemas.microsoft.com/office/drawing/2014/main" id="{4AD6CB8D-A3BC-46CD-8CBE-E4590A9689FD}"/>
              </a:ext>
            </a:extLst>
          </p:cNvPr>
          <p:cNvSpPr/>
          <p:nvPr/>
        </p:nvSpPr>
        <p:spPr>
          <a:xfrm>
            <a:off x="1484960" y="1539344"/>
            <a:ext cx="907728" cy="3606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Profile Created</a:t>
            </a:r>
          </a:p>
        </p:txBody>
      </p:sp>
      <p:sp>
        <p:nvSpPr>
          <p:cNvPr id="8" name="Rectangle 7">
            <a:extLst>
              <a:ext uri="{FF2B5EF4-FFF2-40B4-BE49-F238E27FC236}">
                <a16:creationId xmlns:a16="http://schemas.microsoft.com/office/drawing/2014/main" id="{837B0140-2ED2-4323-BA3D-692BFFE0890A}"/>
              </a:ext>
            </a:extLst>
          </p:cNvPr>
          <p:cNvSpPr/>
          <p:nvPr/>
        </p:nvSpPr>
        <p:spPr>
          <a:xfrm>
            <a:off x="3143703" y="1777052"/>
            <a:ext cx="815811"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Ready” Mentee</a:t>
            </a:r>
          </a:p>
        </p:txBody>
      </p:sp>
      <p:sp>
        <p:nvSpPr>
          <p:cNvPr id="9" name="Rectangle 8">
            <a:extLst>
              <a:ext uri="{FF2B5EF4-FFF2-40B4-BE49-F238E27FC236}">
                <a16:creationId xmlns:a16="http://schemas.microsoft.com/office/drawing/2014/main" id="{840023A3-8875-47B8-A7D1-712B173D46FE}"/>
              </a:ext>
            </a:extLst>
          </p:cNvPr>
          <p:cNvSpPr/>
          <p:nvPr/>
        </p:nvSpPr>
        <p:spPr>
          <a:xfrm>
            <a:off x="270448" y="3461046"/>
            <a:ext cx="967811" cy="19228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SUPPLY</a:t>
            </a:r>
          </a:p>
        </p:txBody>
      </p:sp>
      <p:sp>
        <p:nvSpPr>
          <p:cNvPr id="10" name="Rectangle 9">
            <a:extLst>
              <a:ext uri="{FF2B5EF4-FFF2-40B4-BE49-F238E27FC236}">
                <a16:creationId xmlns:a16="http://schemas.microsoft.com/office/drawing/2014/main" id="{9DDED086-0580-4B22-85B2-63BAE5A09783}"/>
              </a:ext>
            </a:extLst>
          </p:cNvPr>
          <p:cNvSpPr/>
          <p:nvPr/>
        </p:nvSpPr>
        <p:spPr>
          <a:xfrm>
            <a:off x="270448" y="3685370"/>
            <a:ext cx="967811" cy="5246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Refer, Nominate, Apply, Volunteer</a:t>
            </a:r>
          </a:p>
        </p:txBody>
      </p:sp>
      <p:sp>
        <p:nvSpPr>
          <p:cNvPr id="11" name="Rectangle 10">
            <a:extLst>
              <a:ext uri="{FF2B5EF4-FFF2-40B4-BE49-F238E27FC236}">
                <a16:creationId xmlns:a16="http://schemas.microsoft.com/office/drawing/2014/main" id="{838C7875-C3E9-473C-87A8-1EAEA916D218}"/>
              </a:ext>
            </a:extLst>
          </p:cNvPr>
          <p:cNvSpPr/>
          <p:nvPr/>
        </p:nvSpPr>
        <p:spPr>
          <a:xfrm>
            <a:off x="270448" y="4245007"/>
            <a:ext cx="967811" cy="685800"/>
          </a:xfrm>
          <a:prstGeom prst="rect">
            <a:avLst/>
          </a:prstGeom>
          <a:solidFill>
            <a:srgbClr val="00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Mentors Willing to Serve</a:t>
            </a:r>
          </a:p>
        </p:txBody>
      </p:sp>
      <p:sp>
        <p:nvSpPr>
          <p:cNvPr id="12" name="Arrow: Right 11">
            <a:extLst>
              <a:ext uri="{FF2B5EF4-FFF2-40B4-BE49-F238E27FC236}">
                <a16:creationId xmlns:a16="http://schemas.microsoft.com/office/drawing/2014/main" id="{D9632893-9751-40E0-9006-D65466E0CC0C}"/>
              </a:ext>
            </a:extLst>
          </p:cNvPr>
          <p:cNvSpPr/>
          <p:nvPr/>
        </p:nvSpPr>
        <p:spPr>
          <a:xfrm>
            <a:off x="1291483" y="3874202"/>
            <a:ext cx="307649" cy="363474"/>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 name="Rectangle 12">
            <a:extLst>
              <a:ext uri="{FF2B5EF4-FFF2-40B4-BE49-F238E27FC236}">
                <a16:creationId xmlns:a16="http://schemas.microsoft.com/office/drawing/2014/main" id="{37F48FCB-0C09-4EC9-AC2D-F742257D5848}"/>
              </a:ext>
            </a:extLst>
          </p:cNvPr>
          <p:cNvSpPr/>
          <p:nvPr/>
        </p:nvSpPr>
        <p:spPr>
          <a:xfrm>
            <a:off x="1611319" y="3492295"/>
            <a:ext cx="744741" cy="3183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Profile Created</a:t>
            </a:r>
          </a:p>
        </p:txBody>
      </p:sp>
      <p:sp>
        <p:nvSpPr>
          <p:cNvPr id="14" name="Arrow: Right 13">
            <a:extLst>
              <a:ext uri="{FF2B5EF4-FFF2-40B4-BE49-F238E27FC236}">
                <a16:creationId xmlns:a16="http://schemas.microsoft.com/office/drawing/2014/main" id="{8DF2F48D-9735-47E2-A570-B757AEA12F60}"/>
              </a:ext>
            </a:extLst>
          </p:cNvPr>
          <p:cNvSpPr/>
          <p:nvPr/>
        </p:nvSpPr>
        <p:spPr>
          <a:xfrm>
            <a:off x="2812216" y="1923835"/>
            <a:ext cx="307649" cy="363474"/>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7D05C61E-E7A7-4B2F-AABF-F043B32CE1EC}"/>
              </a:ext>
            </a:extLst>
          </p:cNvPr>
          <p:cNvSpPr/>
          <p:nvPr/>
        </p:nvSpPr>
        <p:spPr>
          <a:xfrm>
            <a:off x="3157764" y="4012925"/>
            <a:ext cx="815811"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Ready” Mentor</a:t>
            </a:r>
          </a:p>
        </p:txBody>
      </p:sp>
      <p:sp>
        <p:nvSpPr>
          <p:cNvPr id="16" name="Arrow: Right 15">
            <a:extLst>
              <a:ext uri="{FF2B5EF4-FFF2-40B4-BE49-F238E27FC236}">
                <a16:creationId xmlns:a16="http://schemas.microsoft.com/office/drawing/2014/main" id="{49BCDF63-BD88-4DB6-BFB9-0761F95EF4BA}"/>
              </a:ext>
            </a:extLst>
          </p:cNvPr>
          <p:cNvSpPr/>
          <p:nvPr/>
        </p:nvSpPr>
        <p:spPr>
          <a:xfrm>
            <a:off x="2844067" y="4141508"/>
            <a:ext cx="307649" cy="363474"/>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Rectangle: Rounded Corners 16">
            <a:extLst>
              <a:ext uri="{FF2B5EF4-FFF2-40B4-BE49-F238E27FC236}">
                <a16:creationId xmlns:a16="http://schemas.microsoft.com/office/drawing/2014/main" id="{C4FCAD98-F776-4665-8C30-A25DA6B0C585}"/>
              </a:ext>
            </a:extLst>
          </p:cNvPr>
          <p:cNvSpPr/>
          <p:nvPr/>
        </p:nvSpPr>
        <p:spPr>
          <a:xfrm>
            <a:off x="1484960" y="2933286"/>
            <a:ext cx="907728" cy="4444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sset (40) Assessment</a:t>
            </a:r>
          </a:p>
        </p:txBody>
      </p:sp>
      <p:sp>
        <p:nvSpPr>
          <p:cNvPr id="18" name="Rectangle: Rounded Corners 17">
            <a:extLst>
              <a:ext uri="{FF2B5EF4-FFF2-40B4-BE49-F238E27FC236}">
                <a16:creationId xmlns:a16="http://schemas.microsoft.com/office/drawing/2014/main" id="{F0197A16-0713-4B15-A8F8-BC122F8A5176}"/>
              </a:ext>
            </a:extLst>
          </p:cNvPr>
          <p:cNvSpPr/>
          <p:nvPr/>
        </p:nvSpPr>
        <p:spPr>
          <a:xfrm>
            <a:off x="1499392" y="4527441"/>
            <a:ext cx="926378" cy="3634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Capability Assessment</a:t>
            </a:r>
          </a:p>
        </p:txBody>
      </p:sp>
      <p:sp>
        <p:nvSpPr>
          <p:cNvPr id="19" name="Rectangle 18">
            <a:extLst>
              <a:ext uri="{FF2B5EF4-FFF2-40B4-BE49-F238E27FC236}">
                <a16:creationId xmlns:a16="http://schemas.microsoft.com/office/drawing/2014/main" id="{A81BFDB7-6FA7-4F6A-B939-A1AA6929DA9E}"/>
              </a:ext>
            </a:extLst>
          </p:cNvPr>
          <p:cNvSpPr/>
          <p:nvPr/>
        </p:nvSpPr>
        <p:spPr>
          <a:xfrm>
            <a:off x="2447737" y="2736623"/>
            <a:ext cx="1213613" cy="11360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Matching Process</a:t>
            </a:r>
          </a:p>
        </p:txBody>
      </p:sp>
      <p:cxnSp>
        <p:nvCxnSpPr>
          <p:cNvPr id="21" name="Connector: Elbow 20">
            <a:extLst>
              <a:ext uri="{FF2B5EF4-FFF2-40B4-BE49-F238E27FC236}">
                <a16:creationId xmlns:a16="http://schemas.microsoft.com/office/drawing/2014/main" id="{B74B90BD-83D0-4708-8F8F-B61BF7A610E9}"/>
              </a:ext>
            </a:extLst>
          </p:cNvPr>
          <p:cNvCxnSpPr>
            <a:cxnSpLocks/>
            <a:stCxn id="8" idx="3"/>
            <a:endCxn id="19" idx="0"/>
          </p:cNvCxnSpPr>
          <p:nvPr/>
        </p:nvCxnSpPr>
        <p:spPr>
          <a:xfrm flipH="1">
            <a:off x="3054544" y="2119952"/>
            <a:ext cx="904970" cy="616672"/>
          </a:xfrm>
          <a:prstGeom prst="bentConnector4">
            <a:avLst>
              <a:gd name="adj1" fmla="val -18945"/>
              <a:gd name="adj2" fmla="val 77802"/>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23" name="Connector: Elbow 22">
            <a:extLst>
              <a:ext uri="{FF2B5EF4-FFF2-40B4-BE49-F238E27FC236}">
                <a16:creationId xmlns:a16="http://schemas.microsoft.com/office/drawing/2014/main" id="{2EA511AA-0257-402A-BE5E-4988DB6EF015}"/>
              </a:ext>
            </a:extLst>
          </p:cNvPr>
          <p:cNvCxnSpPr>
            <a:cxnSpLocks/>
            <a:stCxn id="15" idx="3"/>
            <a:endCxn id="19" idx="2"/>
          </p:cNvCxnSpPr>
          <p:nvPr/>
        </p:nvCxnSpPr>
        <p:spPr>
          <a:xfrm flipH="1" flipV="1">
            <a:off x="3054544" y="3872680"/>
            <a:ext cx="919031" cy="483145"/>
          </a:xfrm>
          <a:prstGeom prst="bentConnector4">
            <a:avLst>
              <a:gd name="adj1" fmla="val -18656"/>
              <a:gd name="adj2" fmla="val 85486"/>
            </a:avLst>
          </a:prstGeom>
          <a:ln>
            <a:tailEnd type="triangle"/>
          </a:ln>
        </p:spPr>
        <p:style>
          <a:lnRef idx="3">
            <a:schemeClr val="accent6"/>
          </a:lnRef>
          <a:fillRef idx="0">
            <a:schemeClr val="accent6"/>
          </a:fillRef>
          <a:effectRef idx="2">
            <a:schemeClr val="accent6"/>
          </a:effectRef>
          <a:fontRef idx="minor">
            <a:schemeClr val="tx1"/>
          </a:fontRef>
        </p:style>
      </p:cxnSp>
      <p:sp>
        <p:nvSpPr>
          <p:cNvPr id="25" name="Arrow: Left-Right 24">
            <a:extLst>
              <a:ext uri="{FF2B5EF4-FFF2-40B4-BE49-F238E27FC236}">
                <a16:creationId xmlns:a16="http://schemas.microsoft.com/office/drawing/2014/main" id="{B808218A-9D15-451D-918D-EDB2DC231CDB}"/>
              </a:ext>
            </a:extLst>
          </p:cNvPr>
          <p:cNvSpPr/>
          <p:nvPr/>
        </p:nvSpPr>
        <p:spPr>
          <a:xfrm>
            <a:off x="1372973" y="1121220"/>
            <a:ext cx="2284480" cy="36347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Pre-Match Team</a:t>
            </a:r>
          </a:p>
        </p:txBody>
      </p:sp>
      <p:sp>
        <p:nvSpPr>
          <p:cNvPr id="26" name="Arrow: Left-Right 25">
            <a:extLst>
              <a:ext uri="{FF2B5EF4-FFF2-40B4-BE49-F238E27FC236}">
                <a16:creationId xmlns:a16="http://schemas.microsoft.com/office/drawing/2014/main" id="{90809440-09A2-4F80-9829-4C74D8E686C3}"/>
              </a:ext>
            </a:extLst>
          </p:cNvPr>
          <p:cNvSpPr/>
          <p:nvPr/>
        </p:nvSpPr>
        <p:spPr>
          <a:xfrm>
            <a:off x="3772780" y="1121220"/>
            <a:ext cx="3565922" cy="36347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Match Support Team</a:t>
            </a:r>
          </a:p>
        </p:txBody>
      </p:sp>
      <p:sp>
        <p:nvSpPr>
          <p:cNvPr id="27" name="Rectangle: Rounded Corners 26">
            <a:extLst>
              <a:ext uri="{FF2B5EF4-FFF2-40B4-BE49-F238E27FC236}">
                <a16:creationId xmlns:a16="http://schemas.microsoft.com/office/drawing/2014/main" id="{88029A4D-E21B-4460-AECB-D719D56E6FFA}"/>
              </a:ext>
            </a:extLst>
          </p:cNvPr>
          <p:cNvSpPr/>
          <p:nvPr/>
        </p:nvSpPr>
        <p:spPr>
          <a:xfrm>
            <a:off x="4797647" y="2792875"/>
            <a:ext cx="1022040" cy="108462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Case Worker, Mentor, Mentee </a:t>
            </a:r>
          </a:p>
        </p:txBody>
      </p:sp>
      <p:sp>
        <p:nvSpPr>
          <p:cNvPr id="30" name="Rectangle 29">
            <a:extLst>
              <a:ext uri="{FF2B5EF4-FFF2-40B4-BE49-F238E27FC236}">
                <a16:creationId xmlns:a16="http://schemas.microsoft.com/office/drawing/2014/main" id="{2D091A70-AC30-4EFF-9AEE-23E61C59C7D9}"/>
              </a:ext>
            </a:extLst>
          </p:cNvPr>
          <p:cNvSpPr/>
          <p:nvPr/>
        </p:nvSpPr>
        <p:spPr>
          <a:xfrm>
            <a:off x="1179157" y="5145610"/>
            <a:ext cx="7056503" cy="18323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CRM System</a:t>
            </a:r>
          </a:p>
        </p:txBody>
      </p:sp>
      <p:sp>
        <p:nvSpPr>
          <p:cNvPr id="31" name="Rectangle 30">
            <a:extLst>
              <a:ext uri="{FF2B5EF4-FFF2-40B4-BE49-F238E27FC236}">
                <a16:creationId xmlns:a16="http://schemas.microsoft.com/office/drawing/2014/main" id="{BAEE7EB5-5A3A-4621-980D-640B51F22873}"/>
              </a:ext>
            </a:extLst>
          </p:cNvPr>
          <p:cNvSpPr/>
          <p:nvPr/>
        </p:nvSpPr>
        <p:spPr>
          <a:xfrm>
            <a:off x="1181119" y="5342983"/>
            <a:ext cx="6459877" cy="192280"/>
          </a:xfrm>
          <a:prstGeom prst="rect">
            <a:avLst/>
          </a:prstGeom>
          <a:solidFill>
            <a:srgbClr val="00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Razor’s Edge (Fund Raising and Donor </a:t>
            </a:r>
            <a:r>
              <a:rPr lang="en-US" sz="1350" dirty="0" err="1"/>
              <a:t>Mgmt</a:t>
            </a:r>
            <a:r>
              <a:rPr lang="en-US" sz="1350" dirty="0"/>
              <a:t>)</a:t>
            </a:r>
          </a:p>
        </p:txBody>
      </p:sp>
      <p:sp>
        <p:nvSpPr>
          <p:cNvPr id="32" name="Rectangle 31">
            <a:extLst>
              <a:ext uri="{FF2B5EF4-FFF2-40B4-BE49-F238E27FC236}">
                <a16:creationId xmlns:a16="http://schemas.microsoft.com/office/drawing/2014/main" id="{6BF3E866-DA8C-4995-8E11-C32F2FDEC85A}"/>
              </a:ext>
            </a:extLst>
          </p:cNvPr>
          <p:cNvSpPr/>
          <p:nvPr/>
        </p:nvSpPr>
        <p:spPr>
          <a:xfrm>
            <a:off x="1179157" y="5556252"/>
            <a:ext cx="6461839" cy="192280"/>
          </a:xfrm>
          <a:prstGeom prst="rect">
            <a:avLst/>
          </a:prstGeom>
          <a:solidFill>
            <a:srgbClr val="1034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HRIS (just getting)</a:t>
            </a:r>
          </a:p>
        </p:txBody>
      </p:sp>
      <p:sp>
        <p:nvSpPr>
          <p:cNvPr id="33" name="Rectangle 32">
            <a:extLst>
              <a:ext uri="{FF2B5EF4-FFF2-40B4-BE49-F238E27FC236}">
                <a16:creationId xmlns:a16="http://schemas.microsoft.com/office/drawing/2014/main" id="{8E9EE374-8900-42CB-ACEE-7C37678A2E87}"/>
              </a:ext>
            </a:extLst>
          </p:cNvPr>
          <p:cNvSpPr/>
          <p:nvPr/>
        </p:nvSpPr>
        <p:spPr>
          <a:xfrm>
            <a:off x="2719501" y="5770017"/>
            <a:ext cx="4932981" cy="1922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Finance and Accounting</a:t>
            </a:r>
          </a:p>
        </p:txBody>
      </p:sp>
      <p:sp>
        <p:nvSpPr>
          <p:cNvPr id="34" name="Arrow: Right 33">
            <a:extLst>
              <a:ext uri="{FF2B5EF4-FFF2-40B4-BE49-F238E27FC236}">
                <a16:creationId xmlns:a16="http://schemas.microsoft.com/office/drawing/2014/main" id="{FC6582D6-AEF5-4A1D-8566-BFE3EE46E936}"/>
              </a:ext>
            </a:extLst>
          </p:cNvPr>
          <p:cNvSpPr/>
          <p:nvPr/>
        </p:nvSpPr>
        <p:spPr>
          <a:xfrm>
            <a:off x="3759645" y="3126249"/>
            <a:ext cx="225646" cy="363474"/>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36" name="Straight Connector 35">
            <a:extLst>
              <a:ext uri="{FF2B5EF4-FFF2-40B4-BE49-F238E27FC236}">
                <a16:creationId xmlns:a16="http://schemas.microsoft.com/office/drawing/2014/main" id="{A99668B0-76CC-4FCE-8B48-1ADCC49B5707}"/>
              </a:ext>
            </a:extLst>
          </p:cNvPr>
          <p:cNvCxnSpPr>
            <a:cxnSpLocks/>
          </p:cNvCxnSpPr>
          <p:nvPr/>
        </p:nvCxnSpPr>
        <p:spPr>
          <a:xfrm>
            <a:off x="251222" y="3416183"/>
            <a:ext cx="2231801" cy="0"/>
          </a:xfrm>
          <a:prstGeom prst="line">
            <a:avLst/>
          </a:prstGeom>
          <a:ln w="3810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39" name="Diagram 38">
            <a:extLst>
              <a:ext uri="{FF2B5EF4-FFF2-40B4-BE49-F238E27FC236}">
                <a16:creationId xmlns:a16="http://schemas.microsoft.com/office/drawing/2014/main" id="{F45A24EA-55A2-4170-874D-6D51BB36221F}"/>
              </a:ext>
            </a:extLst>
          </p:cNvPr>
          <p:cNvGraphicFramePr/>
          <p:nvPr/>
        </p:nvGraphicFramePr>
        <p:xfrm>
          <a:off x="5911364" y="2576701"/>
          <a:ext cx="1535225" cy="15977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0" name="Flowchart: Off-page Connector 39">
            <a:extLst>
              <a:ext uri="{FF2B5EF4-FFF2-40B4-BE49-F238E27FC236}">
                <a16:creationId xmlns:a16="http://schemas.microsoft.com/office/drawing/2014/main" id="{15B5B3F1-8232-4E72-85FA-3FD55AF48F5B}"/>
              </a:ext>
            </a:extLst>
          </p:cNvPr>
          <p:cNvSpPr/>
          <p:nvPr/>
        </p:nvSpPr>
        <p:spPr>
          <a:xfrm>
            <a:off x="8094471" y="3804652"/>
            <a:ext cx="841759" cy="918134"/>
          </a:xfrm>
          <a:prstGeom prst="flowChartOffpage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dirty="0"/>
              <a:t>To Post Development Phase Engagement</a:t>
            </a:r>
          </a:p>
          <a:p>
            <a:pPr algn="ctr"/>
            <a:r>
              <a:rPr lang="en-US" sz="825" dirty="0"/>
              <a:t>Process</a:t>
            </a:r>
          </a:p>
        </p:txBody>
      </p:sp>
      <p:sp>
        <p:nvSpPr>
          <p:cNvPr id="41" name="Rectangle 40">
            <a:extLst>
              <a:ext uri="{FF2B5EF4-FFF2-40B4-BE49-F238E27FC236}">
                <a16:creationId xmlns:a16="http://schemas.microsoft.com/office/drawing/2014/main" id="{B6FF0E4D-DBDA-4B87-965A-0E8A7E3012EC}"/>
              </a:ext>
            </a:extLst>
          </p:cNvPr>
          <p:cNvSpPr/>
          <p:nvPr/>
        </p:nvSpPr>
        <p:spPr>
          <a:xfrm>
            <a:off x="7753360" y="1354888"/>
            <a:ext cx="682220" cy="685800"/>
          </a:xfrm>
          <a:prstGeom prst="rect">
            <a:avLst/>
          </a:prstGeom>
          <a:solidFill>
            <a:srgbClr val="00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Young People Ready for Life</a:t>
            </a:r>
          </a:p>
        </p:txBody>
      </p:sp>
      <p:sp>
        <p:nvSpPr>
          <p:cNvPr id="42" name="Flowchart: Decision 41">
            <a:extLst>
              <a:ext uri="{FF2B5EF4-FFF2-40B4-BE49-F238E27FC236}">
                <a16:creationId xmlns:a16="http://schemas.microsoft.com/office/drawing/2014/main" id="{15C27AF0-6C92-4461-89C7-1F26E19EB181}"/>
              </a:ext>
            </a:extLst>
          </p:cNvPr>
          <p:cNvSpPr/>
          <p:nvPr/>
        </p:nvSpPr>
        <p:spPr>
          <a:xfrm>
            <a:off x="7597171" y="2185572"/>
            <a:ext cx="1006268" cy="626288"/>
          </a:xfrm>
          <a:prstGeom prst="flowChartDecision">
            <a:avLst/>
          </a:prstGeom>
          <a:solidFill>
            <a:srgbClr val="00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Close Match</a:t>
            </a:r>
          </a:p>
        </p:txBody>
      </p:sp>
      <p:sp>
        <p:nvSpPr>
          <p:cNvPr id="43" name="Rectangle 42">
            <a:extLst>
              <a:ext uri="{FF2B5EF4-FFF2-40B4-BE49-F238E27FC236}">
                <a16:creationId xmlns:a16="http://schemas.microsoft.com/office/drawing/2014/main" id="{8E8D2F6D-4154-4824-A88E-47377A13B3AE}"/>
              </a:ext>
            </a:extLst>
          </p:cNvPr>
          <p:cNvSpPr/>
          <p:nvPr/>
        </p:nvSpPr>
        <p:spPr>
          <a:xfrm>
            <a:off x="4822768" y="3935118"/>
            <a:ext cx="2623821" cy="452848"/>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Development and Evaluation Process</a:t>
            </a:r>
          </a:p>
        </p:txBody>
      </p:sp>
      <p:sp>
        <p:nvSpPr>
          <p:cNvPr id="20" name="Rectangle 19">
            <a:extLst>
              <a:ext uri="{FF2B5EF4-FFF2-40B4-BE49-F238E27FC236}">
                <a16:creationId xmlns:a16="http://schemas.microsoft.com/office/drawing/2014/main" id="{A6254C7B-9591-4CB8-9DEB-A3A52749D962}"/>
              </a:ext>
            </a:extLst>
          </p:cNvPr>
          <p:cNvSpPr/>
          <p:nvPr/>
        </p:nvSpPr>
        <p:spPr>
          <a:xfrm>
            <a:off x="1599132" y="3899081"/>
            <a:ext cx="815811" cy="588218"/>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Enrollment and Assessment team</a:t>
            </a:r>
          </a:p>
        </p:txBody>
      </p:sp>
      <p:sp>
        <p:nvSpPr>
          <p:cNvPr id="28" name="Rectangle 27">
            <a:extLst>
              <a:ext uri="{FF2B5EF4-FFF2-40B4-BE49-F238E27FC236}">
                <a16:creationId xmlns:a16="http://schemas.microsoft.com/office/drawing/2014/main" id="{F89542BA-3EEE-40EB-A1CC-051E8D3E2436}"/>
              </a:ext>
            </a:extLst>
          </p:cNvPr>
          <p:cNvSpPr/>
          <p:nvPr/>
        </p:nvSpPr>
        <p:spPr>
          <a:xfrm>
            <a:off x="2483023" y="3888490"/>
            <a:ext cx="300990" cy="9790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800" dirty="0"/>
              <a:t>Training</a:t>
            </a:r>
          </a:p>
        </p:txBody>
      </p:sp>
      <p:sp>
        <p:nvSpPr>
          <p:cNvPr id="44" name="Rectangle 43">
            <a:extLst>
              <a:ext uri="{FF2B5EF4-FFF2-40B4-BE49-F238E27FC236}">
                <a16:creationId xmlns:a16="http://schemas.microsoft.com/office/drawing/2014/main" id="{11490383-5C02-4963-8231-2CC3AAD47C3B}"/>
              </a:ext>
            </a:extLst>
          </p:cNvPr>
          <p:cNvSpPr/>
          <p:nvPr/>
        </p:nvSpPr>
        <p:spPr>
          <a:xfrm>
            <a:off x="2451661" y="1539344"/>
            <a:ext cx="300990" cy="11524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800" dirty="0"/>
              <a:t>Training</a:t>
            </a:r>
          </a:p>
        </p:txBody>
      </p:sp>
      <p:sp>
        <p:nvSpPr>
          <p:cNvPr id="45" name="Rectangle 44">
            <a:extLst>
              <a:ext uri="{FF2B5EF4-FFF2-40B4-BE49-F238E27FC236}">
                <a16:creationId xmlns:a16="http://schemas.microsoft.com/office/drawing/2014/main" id="{4510FA8A-1FEB-4438-86D3-E1AA6956FA5F}"/>
              </a:ext>
            </a:extLst>
          </p:cNvPr>
          <p:cNvSpPr/>
          <p:nvPr/>
        </p:nvSpPr>
        <p:spPr>
          <a:xfrm>
            <a:off x="1580277" y="2126300"/>
            <a:ext cx="752141" cy="614591"/>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Enrollment and Assessment team</a:t>
            </a:r>
          </a:p>
        </p:txBody>
      </p:sp>
      <p:sp>
        <p:nvSpPr>
          <p:cNvPr id="46" name="Rectangle 45">
            <a:extLst>
              <a:ext uri="{FF2B5EF4-FFF2-40B4-BE49-F238E27FC236}">
                <a16:creationId xmlns:a16="http://schemas.microsoft.com/office/drawing/2014/main" id="{1E7F4773-11FF-4E03-BD28-FED9529B1933}"/>
              </a:ext>
            </a:extLst>
          </p:cNvPr>
          <p:cNvSpPr/>
          <p:nvPr/>
        </p:nvSpPr>
        <p:spPr>
          <a:xfrm>
            <a:off x="7642957" y="3031155"/>
            <a:ext cx="787280" cy="7250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Match Closure Process</a:t>
            </a:r>
          </a:p>
        </p:txBody>
      </p:sp>
      <p:sp>
        <p:nvSpPr>
          <p:cNvPr id="47" name="Rectangle 46">
            <a:extLst>
              <a:ext uri="{FF2B5EF4-FFF2-40B4-BE49-F238E27FC236}">
                <a16:creationId xmlns:a16="http://schemas.microsoft.com/office/drawing/2014/main" id="{B32C031A-0069-42D7-A843-9A190B692962}"/>
              </a:ext>
            </a:extLst>
          </p:cNvPr>
          <p:cNvSpPr/>
          <p:nvPr/>
        </p:nvSpPr>
        <p:spPr>
          <a:xfrm>
            <a:off x="1179157" y="4920605"/>
            <a:ext cx="7056503" cy="19228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Marketing and Communications Team</a:t>
            </a:r>
          </a:p>
        </p:txBody>
      </p:sp>
      <p:sp>
        <p:nvSpPr>
          <p:cNvPr id="50" name="Rectangle 49">
            <a:extLst>
              <a:ext uri="{FF2B5EF4-FFF2-40B4-BE49-F238E27FC236}">
                <a16:creationId xmlns:a16="http://schemas.microsoft.com/office/drawing/2014/main" id="{E644AD92-73FF-4925-A62C-D01FC3C7A4AF}"/>
              </a:ext>
            </a:extLst>
          </p:cNvPr>
          <p:cNvSpPr/>
          <p:nvPr/>
        </p:nvSpPr>
        <p:spPr>
          <a:xfrm>
            <a:off x="3959514" y="3051628"/>
            <a:ext cx="815811" cy="588218"/>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Match Support Team</a:t>
            </a:r>
          </a:p>
        </p:txBody>
      </p:sp>
      <p:sp>
        <p:nvSpPr>
          <p:cNvPr id="29" name="Rectangle 28">
            <a:extLst>
              <a:ext uri="{FF2B5EF4-FFF2-40B4-BE49-F238E27FC236}">
                <a16:creationId xmlns:a16="http://schemas.microsoft.com/office/drawing/2014/main" id="{6E13F97E-D402-4704-9AA2-26427D57022A}"/>
              </a:ext>
            </a:extLst>
          </p:cNvPr>
          <p:cNvSpPr/>
          <p:nvPr/>
        </p:nvSpPr>
        <p:spPr>
          <a:xfrm>
            <a:off x="4385059" y="1621777"/>
            <a:ext cx="1801474" cy="504524"/>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Shane—Team Lead</a:t>
            </a:r>
          </a:p>
        </p:txBody>
      </p:sp>
      <p:sp>
        <p:nvSpPr>
          <p:cNvPr id="22" name="Isosceles Triangle 21">
            <a:extLst>
              <a:ext uri="{FF2B5EF4-FFF2-40B4-BE49-F238E27FC236}">
                <a16:creationId xmlns:a16="http://schemas.microsoft.com/office/drawing/2014/main" id="{10F477A4-D516-4485-83A5-56547D42E243}"/>
              </a:ext>
            </a:extLst>
          </p:cNvPr>
          <p:cNvSpPr/>
          <p:nvPr/>
        </p:nvSpPr>
        <p:spPr>
          <a:xfrm>
            <a:off x="3756627" y="2115552"/>
            <a:ext cx="1106968" cy="917899"/>
          </a:xfrm>
          <a:prstGeom prst="triangl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2 </a:t>
            </a:r>
            <a:r>
              <a:rPr lang="en-US" sz="900" dirty="0" err="1"/>
              <a:t>yrs</a:t>
            </a:r>
            <a:endParaRPr lang="en-US" sz="900" dirty="0"/>
          </a:p>
        </p:txBody>
      </p:sp>
      <p:sp>
        <p:nvSpPr>
          <p:cNvPr id="48" name="Isosceles Triangle 47">
            <a:extLst>
              <a:ext uri="{FF2B5EF4-FFF2-40B4-BE49-F238E27FC236}">
                <a16:creationId xmlns:a16="http://schemas.microsoft.com/office/drawing/2014/main" id="{0FA18AC1-BC7D-4356-BB01-AB9C6B09F150}"/>
              </a:ext>
            </a:extLst>
          </p:cNvPr>
          <p:cNvSpPr/>
          <p:nvPr/>
        </p:nvSpPr>
        <p:spPr>
          <a:xfrm>
            <a:off x="1286599" y="1851365"/>
            <a:ext cx="269840" cy="313697"/>
          </a:xfrm>
          <a:prstGeom prst="triangl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1" name="Isosceles Triangle 50">
            <a:extLst>
              <a:ext uri="{FF2B5EF4-FFF2-40B4-BE49-F238E27FC236}">
                <a16:creationId xmlns:a16="http://schemas.microsoft.com/office/drawing/2014/main" id="{E66ED75C-B3C8-4ECD-8014-3331CE7A19B2}"/>
              </a:ext>
            </a:extLst>
          </p:cNvPr>
          <p:cNvSpPr/>
          <p:nvPr/>
        </p:nvSpPr>
        <p:spPr>
          <a:xfrm>
            <a:off x="1253495" y="3547046"/>
            <a:ext cx="307649" cy="259499"/>
          </a:xfrm>
          <a:prstGeom prst="triangl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2" name="Isosceles Triangle 51">
            <a:extLst>
              <a:ext uri="{FF2B5EF4-FFF2-40B4-BE49-F238E27FC236}">
                <a16:creationId xmlns:a16="http://schemas.microsoft.com/office/drawing/2014/main" id="{7C652EB5-8A3D-4A69-8483-6F10A5E7C5C1}"/>
              </a:ext>
            </a:extLst>
          </p:cNvPr>
          <p:cNvSpPr/>
          <p:nvPr/>
        </p:nvSpPr>
        <p:spPr>
          <a:xfrm>
            <a:off x="2154562" y="2832187"/>
            <a:ext cx="720434" cy="707043"/>
          </a:xfrm>
          <a:prstGeom prst="triangl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dirty="0"/>
              <a:t>3-12</a:t>
            </a:r>
          </a:p>
        </p:txBody>
      </p:sp>
      <p:sp>
        <p:nvSpPr>
          <p:cNvPr id="54" name="Isosceles Triangle 53">
            <a:extLst>
              <a:ext uri="{FF2B5EF4-FFF2-40B4-BE49-F238E27FC236}">
                <a16:creationId xmlns:a16="http://schemas.microsoft.com/office/drawing/2014/main" id="{D0CD7F88-0B3B-4E15-8F13-B732B07127FE}"/>
              </a:ext>
            </a:extLst>
          </p:cNvPr>
          <p:cNvSpPr/>
          <p:nvPr/>
        </p:nvSpPr>
        <p:spPr>
          <a:xfrm>
            <a:off x="2719501" y="1555516"/>
            <a:ext cx="461879" cy="392986"/>
          </a:xfrm>
          <a:prstGeom prst="triangl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dirty="0"/>
              <a:t>.5</a:t>
            </a:r>
          </a:p>
        </p:txBody>
      </p:sp>
      <p:sp>
        <p:nvSpPr>
          <p:cNvPr id="56" name="Isosceles Triangle 55">
            <a:extLst>
              <a:ext uri="{FF2B5EF4-FFF2-40B4-BE49-F238E27FC236}">
                <a16:creationId xmlns:a16="http://schemas.microsoft.com/office/drawing/2014/main" id="{C59C6D48-4F1D-4014-B2BC-D1213E0B1128}"/>
              </a:ext>
            </a:extLst>
          </p:cNvPr>
          <p:cNvSpPr/>
          <p:nvPr/>
        </p:nvSpPr>
        <p:spPr>
          <a:xfrm>
            <a:off x="2736222" y="3751734"/>
            <a:ext cx="461879" cy="392986"/>
          </a:xfrm>
          <a:prstGeom prst="triangl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dirty="0"/>
              <a:t>.5</a:t>
            </a:r>
          </a:p>
        </p:txBody>
      </p:sp>
      <p:sp>
        <p:nvSpPr>
          <p:cNvPr id="57" name="Isosceles Triangle 56">
            <a:extLst>
              <a:ext uri="{FF2B5EF4-FFF2-40B4-BE49-F238E27FC236}">
                <a16:creationId xmlns:a16="http://schemas.microsoft.com/office/drawing/2014/main" id="{A70FC2C0-52FD-4593-A1F2-3A54A22283B2}"/>
              </a:ext>
            </a:extLst>
          </p:cNvPr>
          <p:cNvSpPr/>
          <p:nvPr/>
        </p:nvSpPr>
        <p:spPr>
          <a:xfrm>
            <a:off x="5611069" y="3091732"/>
            <a:ext cx="461879" cy="392986"/>
          </a:xfrm>
          <a:prstGeom prst="triangl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049912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8A17196-5564-4515-BA33-0B2A448DFA43}"/>
              </a:ext>
            </a:extLst>
          </p:cNvPr>
          <p:cNvSpPr/>
          <p:nvPr/>
        </p:nvSpPr>
        <p:spPr>
          <a:xfrm>
            <a:off x="901528" y="1176075"/>
            <a:ext cx="6507773" cy="1785938"/>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350" b="1" dirty="0"/>
              <a:t>Mentor Application Kanban</a:t>
            </a:r>
          </a:p>
          <a:p>
            <a:pPr algn="ctr"/>
            <a:endParaRPr lang="en-US" sz="1350" b="1" dirty="0"/>
          </a:p>
          <a:p>
            <a:pPr algn="ctr"/>
            <a:endParaRPr lang="en-US" sz="1350" b="1" dirty="0"/>
          </a:p>
          <a:p>
            <a:pPr algn="ctr"/>
            <a:endParaRPr lang="en-US" sz="1350" b="1" dirty="0"/>
          </a:p>
          <a:p>
            <a:pPr algn="ctr"/>
            <a:endParaRPr lang="en-US" sz="1350" b="1" dirty="0"/>
          </a:p>
          <a:p>
            <a:pPr algn="ctr"/>
            <a:endParaRPr lang="en-US" sz="1350" b="1" dirty="0"/>
          </a:p>
          <a:p>
            <a:pPr algn="ctr"/>
            <a:endParaRPr lang="en-US" sz="1350" b="1" dirty="0"/>
          </a:p>
        </p:txBody>
      </p:sp>
      <p:grpSp>
        <p:nvGrpSpPr>
          <p:cNvPr id="39" name="Group 38">
            <a:extLst>
              <a:ext uri="{FF2B5EF4-FFF2-40B4-BE49-F238E27FC236}">
                <a16:creationId xmlns:a16="http://schemas.microsoft.com/office/drawing/2014/main" id="{72D6DE56-309A-43B7-BA52-ED60153377F3}"/>
              </a:ext>
            </a:extLst>
          </p:cNvPr>
          <p:cNvGrpSpPr/>
          <p:nvPr/>
        </p:nvGrpSpPr>
        <p:grpSpPr>
          <a:xfrm>
            <a:off x="355189" y="1498366"/>
            <a:ext cx="6096000" cy="1981994"/>
            <a:chOff x="920501" y="1841077"/>
            <a:chExt cx="8128000" cy="2642658"/>
          </a:xfrm>
        </p:grpSpPr>
        <p:graphicFrame>
          <p:nvGraphicFramePr>
            <p:cNvPr id="19" name="Diagram 18">
              <a:extLst>
                <a:ext uri="{FF2B5EF4-FFF2-40B4-BE49-F238E27FC236}">
                  <a16:creationId xmlns:a16="http://schemas.microsoft.com/office/drawing/2014/main" id="{DCC73C39-F35B-4FE2-A3E2-5331689D8854}"/>
                </a:ext>
              </a:extLst>
            </p:cNvPr>
            <p:cNvGraphicFramePr/>
            <p:nvPr/>
          </p:nvGraphicFramePr>
          <p:xfrm>
            <a:off x="920501" y="1841077"/>
            <a:ext cx="8128000" cy="26426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Flowchart: Multidocument 10">
              <a:extLst>
                <a:ext uri="{FF2B5EF4-FFF2-40B4-BE49-F238E27FC236}">
                  <a16:creationId xmlns:a16="http://schemas.microsoft.com/office/drawing/2014/main" id="{AD6A30CD-D10A-411F-AE03-8965C56265A2}"/>
                </a:ext>
              </a:extLst>
            </p:cNvPr>
            <p:cNvSpPr/>
            <p:nvPr/>
          </p:nvSpPr>
          <p:spPr>
            <a:xfrm>
              <a:off x="1011982" y="2235518"/>
              <a:ext cx="1242516" cy="1212257"/>
            </a:xfrm>
            <a:prstGeom prst="flowChartMultidocument">
              <a:avLst/>
            </a:prstGeom>
            <a:solidFill>
              <a:srgbClr val="92D050"/>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a:p>
          </p:txBody>
        </p:sp>
        <p:sp>
          <p:nvSpPr>
            <p:cNvPr id="13" name="Rectangle 12">
              <a:extLst>
                <a:ext uri="{FF2B5EF4-FFF2-40B4-BE49-F238E27FC236}">
                  <a16:creationId xmlns:a16="http://schemas.microsoft.com/office/drawing/2014/main" id="{CCC69DE5-749C-4580-97B6-05602A42115D}"/>
                </a:ext>
              </a:extLst>
            </p:cNvPr>
            <p:cNvSpPr/>
            <p:nvPr/>
          </p:nvSpPr>
          <p:spPr>
            <a:xfrm>
              <a:off x="930523" y="2935322"/>
              <a:ext cx="1313953" cy="68874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50" dirty="0"/>
                <a:t>Applications Processed</a:t>
              </a:r>
            </a:p>
            <a:p>
              <a:pPr algn="ctr"/>
              <a:r>
                <a:rPr lang="en-US" sz="1050" b="1" dirty="0"/>
                <a:t>[23/ 20]</a:t>
              </a:r>
            </a:p>
          </p:txBody>
        </p:sp>
        <p:sp>
          <p:nvSpPr>
            <p:cNvPr id="21" name="Flowchart: Multidocument 20">
              <a:extLst>
                <a:ext uri="{FF2B5EF4-FFF2-40B4-BE49-F238E27FC236}">
                  <a16:creationId xmlns:a16="http://schemas.microsoft.com/office/drawing/2014/main" id="{7FEDE72D-3F6E-45CB-A324-EBFF972A19AB}"/>
                </a:ext>
              </a:extLst>
            </p:cNvPr>
            <p:cNvSpPr/>
            <p:nvPr/>
          </p:nvSpPr>
          <p:spPr>
            <a:xfrm>
              <a:off x="3192957" y="2235518"/>
              <a:ext cx="1242516" cy="1212257"/>
            </a:xfrm>
            <a:prstGeom prst="flowChartMultidocument">
              <a:avLst/>
            </a:prstGeom>
            <a:solidFill>
              <a:srgbClr val="FF0000"/>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a:p>
          </p:txBody>
        </p:sp>
        <p:sp>
          <p:nvSpPr>
            <p:cNvPr id="22" name="Rectangle 21">
              <a:extLst>
                <a:ext uri="{FF2B5EF4-FFF2-40B4-BE49-F238E27FC236}">
                  <a16:creationId xmlns:a16="http://schemas.microsoft.com/office/drawing/2014/main" id="{B9EF809D-76DA-4490-9CF5-E38E4D82809D}"/>
                </a:ext>
              </a:extLst>
            </p:cNvPr>
            <p:cNvSpPr/>
            <p:nvPr/>
          </p:nvSpPr>
          <p:spPr>
            <a:xfrm>
              <a:off x="3111498" y="2935322"/>
              <a:ext cx="1313953" cy="68874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50" dirty="0"/>
                <a:t>Assessment Complete</a:t>
              </a:r>
            </a:p>
            <a:p>
              <a:pPr algn="ctr"/>
              <a:r>
                <a:rPr lang="en-US" sz="1050" b="1" dirty="0"/>
                <a:t>[15/ 20]</a:t>
              </a:r>
            </a:p>
          </p:txBody>
        </p:sp>
        <p:sp>
          <p:nvSpPr>
            <p:cNvPr id="23" name="Flowchart: Multidocument 22">
              <a:extLst>
                <a:ext uri="{FF2B5EF4-FFF2-40B4-BE49-F238E27FC236}">
                  <a16:creationId xmlns:a16="http://schemas.microsoft.com/office/drawing/2014/main" id="{6BD509CC-7CBB-4C29-B464-003369133762}"/>
                </a:ext>
              </a:extLst>
            </p:cNvPr>
            <p:cNvSpPr/>
            <p:nvPr/>
          </p:nvSpPr>
          <p:spPr>
            <a:xfrm>
              <a:off x="5378699" y="2235518"/>
              <a:ext cx="1242516" cy="1212257"/>
            </a:xfrm>
            <a:prstGeom prst="flowChartMultidocument">
              <a:avLst/>
            </a:prstGeom>
            <a:solidFill>
              <a:srgbClr val="FF0000"/>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CA09193B-7AEE-4705-9B3F-636AF70547F6}"/>
                </a:ext>
              </a:extLst>
            </p:cNvPr>
            <p:cNvSpPr/>
            <p:nvPr/>
          </p:nvSpPr>
          <p:spPr>
            <a:xfrm>
              <a:off x="5297240" y="2935322"/>
              <a:ext cx="1313953" cy="68874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50" dirty="0"/>
                <a:t>Evaluation Complete</a:t>
              </a:r>
            </a:p>
            <a:p>
              <a:pPr algn="ctr"/>
              <a:r>
                <a:rPr lang="en-US" sz="1050" b="1" dirty="0"/>
                <a:t>[18 / 20]</a:t>
              </a:r>
            </a:p>
          </p:txBody>
        </p:sp>
        <p:sp>
          <p:nvSpPr>
            <p:cNvPr id="25" name="Flowchart: Multidocument 24">
              <a:extLst>
                <a:ext uri="{FF2B5EF4-FFF2-40B4-BE49-F238E27FC236}">
                  <a16:creationId xmlns:a16="http://schemas.microsoft.com/office/drawing/2014/main" id="{21828759-60B2-4D99-98EF-4BBDB541BED9}"/>
                </a:ext>
              </a:extLst>
            </p:cNvPr>
            <p:cNvSpPr/>
            <p:nvPr/>
          </p:nvSpPr>
          <p:spPr>
            <a:xfrm>
              <a:off x="7563944" y="2235518"/>
              <a:ext cx="1242516" cy="1212257"/>
            </a:xfrm>
            <a:prstGeom prst="flowChartMultidocument">
              <a:avLst/>
            </a:prstGeom>
            <a:solidFill>
              <a:srgbClr val="92D050"/>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a:p>
          </p:txBody>
        </p:sp>
        <p:sp>
          <p:nvSpPr>
            <p:cNvPr id="26" name="Rectangle 25">
              <a:extLst>
                <a:ext uri="{FF2B5EF4-FFF2-40B4-BE49-F238E27FC236}">
                  <a16:creationId xmlns:a16="http://schemas.microsoft.com/office/drawing/2014/main" id="{95F8DEAB-3AF3-4BFC-873C-0470CA52B7E3}"/>
                </a:ext>
              </a:extLst>
            </p:cNvPr>
            <p:cNvSpPr/>
            <p:nvPr/>
          </p:nvSpPr>
          <p:spPr>
            <a:xfrm>
              <a:off x="7482485" y="2935322"/>
              <a:ext cx="1313953" cy="68874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50" dirty="0"/>
                <a:t>Training Completed</a:t>
              </a:r>
            </a:p>
            <a:p>
              <a:pPr algn="ctr"/>
              <a:r>
                <a:rPr lang="en-US" sz="1050" b="1" dirty="0"/>
                <a:t>[26/ 20]</a:t>
              </a:r>
            </a:p>
          </p:txBody>
        </p:sp>
      </p:grpSp>
      <p:sp>
        <p:nvSpPr>
          <p:cNvPr id="28" name="Rectangle 27">
            <a:extLst>
              <a:ext uri="{FF2B5EF4-FFF2-40B4-BE49-F238E27FC236}">
                <a16:creationId xmlns:a16="http://schemas.microsoft.com/office/drawing/2014/main" id="{7F247CEF-6FBB-4CDD-92FD-DCE2275FDBCA}"/>
              </a:ext>
            </a:extLst>
          </p:cNvPr>
          <p:cNvSpPr/>
          <p:nvPr/>
        </p:nvSpPr>
        <p:spPr>
          <a:xfrm>
            <a:off x="349294" y="3913740"/>
            <a:ext cx="6507773" cy="1094605"/>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350" b="1" dirty="0"/>
              <a:t>Mentee Application Kanban</a:t>
            </a:r>
          </a:p>
          <a:p>
            <a:pPr algn="ctr"/>
            <a:endParaRPr lang="en-US" sz="1350" b="1" dirty="0"/>
          </a:p>
          <a:p>
            <a:pPr algn="ctr"/>
            <a:endParaRPr lang="en-US" sz="1350" b="1" dirty="0"/>
          </a:p>
          <a:p>
            <a:pPr algn="ctr"/>
            <a:endParaRPr lang="en-US" sz="1350" b="1" dirty="0"/>
          </a:p>
          <a:p>
            <a:pPr algn="ctr"/>
            <a:endParaRPr lang="en-US" sz="1350" b="1" dirty="0"/>
          </a:p>
          <a:p>
            <a:pPr algn="ctr"/>
            <a:endParaRPr lang="en-US" sz="1350" b="1" dirty="0"/>
          </a:p>
          <a:p>
            <a:pPr algn="ctr"/>
            <a:endParaRPr lang="en-US" sz="1350" b="1" dirty="0"/>
          </a:p>
          <a:p>
            <a:pPr algn="ctr"/>
            <a:endParaRPr lang="en-US" sz="1350" b="1" dirty="0"/>
          </a:p>
        </p:txBody>
      </p:sp>
      <p:grpSp>
        <p:nvGrpSpPr>
          <p:cNvPr id="38" name="Group 37">
            <a:extLst>
              <a:ext uri="{FF2B5EF4-FFF2-40B4-BE49-F238E27FC236}">
                <a16:creationId xmlns:a16="http://schemas.microsoft.com/office/drawing/2014/main" id="{D1B27827-FDA2-4D3B-B245-D1682168B16D}"/>
              </a:ext>
            </a:extLst>
          </p:cNvPr>
          <p:cNvGrpSpPr/>
          <p:nvPr/>
        </p:nvGrpSpPr>
        <p:grpSpPr>
          <a:xfrm>
            <a:off x="297451" y="4235661"/>
            <a:ext cx="4456047" cy="1282810"/>
            <a:chOff x="930523" y="4577410"/>
            <a:chExt cx="5941396" cy="1710413"/>
          </a:xfrm>
        </p:grpSpPr>
        <p:graphicFrame>
          <p:nvGraphicFramePr>
            <p:cNvPr id="37" name="Diagram 36">
              <a:extLst>
                <a:ext uri="{FF2B5EF4-FFF2-40B4-BE49-F238E27FC236}">
                  <a16:creationId xmlns:a16="http://schemas.microsoft.com/office/drawing/2014/main" id="{060B83C4-ED55-4B10-8A80-A89EF5824B3D}"/>
                </a:ext>
              </a:extLst>
            </p:cNvPr>
            <p:cNvGraphicFramePr/>
            <p:nvPr/>
          </p:nvGraphicFramePr>
          <p:xfrm>
            <a:off x="930523" y="4722437"/>
            <a:ext cx="5941396" cy="156538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9" name="Flowchart: Multidocument 28">
              <a:extLst>
                <a:ext uri="{FF2B5EF4-FFF2-40B4-BE49-F238E27FC236}">
                  <a16:creationId xmlns:a16="http://schemas.microsoft.com/office/drawing/2014/main" id="{3B8EEADC-63B8-4332-B512-B890E264EE41}"/>
                </a:ext>
              </a:extLst>
            </p:cNvPr>
            <p:cNvSpPr/>
            <p:nvPr/>
          </p:nvSpPr>
          <p:spPr>
            <a:xfrm>
              <a:off x="1011982" y="4615668"/>
              <a:ext cx="1242516" cy="1212257"/>
            </a:xfrm>
            <a:prstGeom prst="flowChartMultidocument">
              <a:avLst/>
            </a:prstGeom>
            <a:solidFill>
              <a:srgbClr val="92D050"/>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a:p>
          </p:txBody>
        </p:sp>
        <p:sp>
          <p:nvSpPr>
            <p:cNvPr id="30" name="Rectangle 29">
              <a:extLst>
                <a:ext uri="{FF2B5EF4-FFF2-40B4-BE49-F238E27FC236}">
                  <a16:creationId xmlns:a16="http://schemas.microsoft.com/office/drawing/2014/main" id="{3BE17F91-FA75-4122-BB42-A2190019F397}"/>
                </a:ext>
              </a:extLst>
            </p:cNvPr>
            <p:cNvSpPr/>
            <p:nvPr/>
          </p:nvSpPr>
          <p:spPr>
            <a:xfrm>
              <a:off x="930523" y="5286897"/>
              <a:ext cx="1313953" cy="68874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50" dirty="0"/>
                <a:t>Applications Processed</a:t>
              </a:r>
            </a:p>
            <a:p>
              <a:pPr algn="ctr"/>
              <a:r>
                <a:rPr lang="en-US" sz="1050" b="1" dirty="0"/>
                <a:t>[31/ 20]</a:t>
              </a:r>
            </a:p>
          </p:txBody>
        </p:sp>
        <p:sp>
          <p:nvSpPr>
            <p:cNvPr id="31" name="Flowchart: Multidocument 30">
              <a:extLst>
                <a:ext uri="{FF2B5EF4-FFF2-40B4-BE49-F238E27FC236}">
                  <a16:creationId xmlns:a16="http://schemas.microsoft.com/office/drawing/2014/main" id="{E8F4D67D-0E59-4485-B0A9-061571461B6A}"/>
                </a:ext>
              </a:extLst>
            </p:cNvPr>
            <p:cNvSpPr/>
            <p:nvPr/>
          </p:nvSpPr>
          <p:spPr>
            <a:xfrm>
              <a:off x="3192957" y="4615668"/>
              <a:ext cx="1242516" cy="1212257"/>
            </a:xfrm>
            <a:prstGeom prst="flowChartMultidocument">
              <a:avLst/>
            </a:prstGeom>
            <a:solidFill>
              <a:srgbClr val="FF0000"/>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a:p>
          </p:txBody>
        </p:sp>
        <p:sp>
          <p:nvSpPr>
            <p:cNvPr id="32" name="Rectangle 31">
              <a:extLst>
                <a:ext uri="{FF2B5EF4-FFF2-40B4-BE49-F238E27FC236}">
                  <a16:creationId xmlns:a16="http://schemas.microsoft.com/office/drawing/2014/main" id="{2C27342F-1EFE-45D6-92CB-BD0D2D4BE431}"/>
                </a:ext>
              </a:extLst>
            </p:cNvPr>
            <p:cNvSpPr/>
            <p:nvPr/>
          </p:nvSpPr>
          <p:spPr>
            <a:xfrm>
              <a:off x="3130548" y="5286897"/>
              <a:ext cx="1313953" cy="68874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50" dirty="0"/>
                <a:t>Assessment Complete</a:t>
              </a:r>
            </a:p>
            <a:p>
              <a:pPr algn="ctr"/>
              <a:r>
                <a:rPr lang="en-US" sz="1050" b="1" dirty="0"/>
                <a:t>[12/ 20]</a:t>
              </a:r>
            </a:p>
          </p:txBody>
        </p:sp>
        <p:sp>
          <p:nvSpPr>
            <p:cNvPr id="35" name="Flowchart: Multidocument 34">
              <a:extLst>
                <a:ext uri="{FF2B5EF4-FFF2-40B4-BE49-F238E27FC236}">
                  <a16:creationId xmlns:a16="http://schemas.microsoft.com/office/drawing/2014/main" id="{8EB266FC-B837-4749-925D-A1B680C3E1B0}"/>
                </a:ext>
              </a:extLst>
            </p:cNvPr>
            <p:cNvSpPr/>
            <p:nvPr/>
          </p:nvSpPr>
          <p:spPr>
            <a:xfrm>
              <a:off x="5332958" y="4577410"/>
              <a:ext cx="1242516" cy="1212257"/>
            </a:xfrm>
            <a:prstGeom prst="flowChartMultidocument">
              <a:avLst/>
            </a:prstGeom>
            <a:solidFill>
              <a:srgbClr val="92D050"/>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a:p>
          </p:txBody>
        </p:sp>
        <p:sp>
          <p:nvSpPr>
            <p:cNvPr id="36" name="Rectangle 35">
              <a:extLst>
                <a:ext uri="{FF2B5EF4-FFF2-40B4-BE49-F238E27FC236}">
                  <a16:creationId xmlns:a16="http://schemas.microsoft.com/office/drawing/2014/main" id="{ECDE498F-1BFA-4781-874C-4EF85089141C}"/>
                </a:ext>
              </a:extLst>
            </p:cNvPr>
            <p:cNvSpPr/>
            <p:nvPr/>
          </p:nvSpPr>
          <p:spPr>
            <a:xfrm>
              <a:off x="5307262" y="5286269"/>
              <a:ext cx="1313953" cy="688749"/>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50" dirty="0"/>
                <a:t>Training Completed</a:t>
              </a:r>
            </a:p>
            <a:p>
              <a:pPr algn="ctr"/>
              <a:r>
                <a:rPr lang="en-US" sz="1050" b="1" dirty="0"/>
                <a:t>[24/ 20]</a:t>
              </a:r>
            </a:p>
          </p:txBody>
        </p:sp>
      </p:grpSp>
      <p:sp>
        <p:nvSpPr>
          <p:cNvPr id="48" name="Cube 47">
            <a:extLst>
              <a:ext uri="{FF2B5EF4-FFF2-40B4-BE49-F238E27FC236}">
                <a16:creationId xmlns:a16="http://schemas.microsoft.com/office/drawing/2014/main" id="{7051CC56-6007-48EB-8569-83BDB4F81119}"/>
              </a:ext>
            </a:extLst>
          </p:cNvPr>
          <p:cNvSpPr/>
          <p:nvPr/>
        </p:nvSpPr>
        <p:spPr>
          <a:xfrm>
            <a:off x="6352907" y="3775511"/>
            <a:ext cx="1169250" cy="715633"/>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45" name="Flowchart: Multidocument 44">
            <a:extLst>
              <a:ext uri="{FF2B5EF4-FFF2-40B4-BE49-F238E27FC236}">
                <a16:creationId xmlns:a16="http://schemas.microsoft.com/office/drawing/2014/main" id="{A658BC48-B7FE-4AA1-8C8A-BB0169328AD0}"/>
              </a:ext>
            </a:extLst>
          </p:cNvPr>
          <p:cNvSpPr/>
          <p:nvPr/>
        </p:nvSpPr>
        <p:spPr>
          <a:xfrm>
            <a:off x="6397011" y="3433989"/>
            <a:ext cx="931887" cy="909193"/>
          </a:xfrm>
          <a:prstGeom prst="flowChartMultidocument">
            <a:avLst/>
          </a:prstGeom>
          <a:solidFill>
            <a:srgbClr val="92D050"/>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50"/>
          </a:p>
        </p:txBody>
      </p:sp>
      <p:sp>
        <p:nvSpPr>
          <p:cNvPr id="47" name="Rectangle 46">
            <a:extLst>
              <a:ext uri="{FF2B5EF4-FFF2-40B4-BE49-F238E27FC236}">
                <a16:creationId xmlns:a16="http://schemas.microsoft.com/office/drawing/2014/main" id="{79050302-34DB-4E04-B572-970DF101E2E8}"/>
              </a:ext>
            </a:extLst>
          </p:cNvPr>
          <p:cNvSpPr/>
          <p:nvPr/>
        </p:nvSpPr>
        <p:spPr>
          <a:xfrm>
            <a:off x="6345428" y="3962101"/>
            <a:ext cx="985465" cy="54792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50" dirty="0"/>
              <a:t>Matches Completed</a:t>
            </a:r>
          </a:p>
          <a:p>
            <a:pPr algn="ctr"/>
            <a:r>
              <a:rPr lang="en-US" sz="1050" b="1" dirty="0"/>
              <a:t>[23/ 20]</a:t>
            </a:r>
          </a:p>
        </p:txBody>
      </p:sp>
      <p:sp>
        <p:nvSpPr>
          <p:cNvPr id="2" name="Flowchart: Magnetic Disk 1">
            <a:extLst>
              <a:ext uri="{FF2B5EF4-FFF2-40B4-BE49-F238E27FC236}">
                <a16:creationId xmlns:a16="http://schemas.microsoft.com/office/drawing/2014/main" id="{2A3BE608-F5C2-4EF5-83DC-E536A5BCF187}"/>
              </a:ext>
            </a:extLst>
          </p:cNvPr>
          <p:cNvSpPr/>
          <p:nvPr/>
        </p:nvSpPr>
        <p:spPr>
          <a:xfrm>
            <a:off x="5353126" y="3197887"/>
            <a:ext cx="920249" cy="77398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3" name="Cube 32">
            <a:extLst>
              <a:ext uri="{FF2B5EF4-FFF2-40B4-BE49-F238E27FC236}">
                <a16:creationId xmlns:a16="http://schemas.microsoft.com/office/drawing/2014/main" id="{D6FBBFE1-69C4-4ED9-987A-84E27D4E9C15}"/>
              </a:ext>
            </a:extLst>
          </p:cNvPr>
          <p:cNvSpPr/>
          <p:nvPr/>
        </p:nvSpPr>
        <p:spPr>
          <a:xfrm>
            <a:off x="7404571" y="3775511"/>
            <a:ext cx="858647" cy="720763"/>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900" dirty="0"/>
              <a:t>Successful launch meetings</a:t>
            </a:r>
          </a:p>
        </p:txBody>
      </p:sp>
      <p:sp>
        <p:nvSpPr>
          <p:cNvPr id="34" name="Cube 33">
            <a:extLst>
              <a:ext uri="{FF2B5EF4-FFF2-40B4-BE49-F238E27FC236}">
                <a16:creationId xmlns:a16="http://schemas.microsoft.com/office/drawing/2014/main" id="{0ADF8E61-17E7-46E3-816E-8981C4269DFB}"/>
              </a:ext>
            </a:extLst>
          </p:cNvPr>
          <p:cNvSpPr/>
          <p:nvPr/>
        </p:nvSpPr>
        <p:spPr>
          <a:xfrm>
            <a:off x="36079" y="3256020"/>
            <a:ext cx="1197821" cy="715633"/>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350" dirty="0"/>
              <a:t>Shape Demand</a:t>
            </a:r>
          </a:p>
        </p:txBody>
      </p:sp>
      <p:sp>
        <p:nvSpPr>
          <p:cNvPr id="40" name="Flowchart: Magnetic Disk 39">
            <a:extLst>
              <a:ext uri="{FF2B5EF4-FFF2-40B4-BE49-F238E27FC236}">
                <a16:creationId xmlns:a16="http://schemas.microsoft.com/office/drawing/2014/main" id="{27B5D183-A0FA-4DE9-BE61-48907EEB11BB}"/>
              </a:ext>
            </a:extLst>
          </p:cNvPr>
          <p:cNvSpPr/>
          <p:nvPr/>
        </p:nvSpPr>
        <p:spPr>
          <a:xfrm>
            <a:off x="5354223" y="4496274"/>
            <a:ext cx="920249" cy="77398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1" name="Flowchart: Multidocument 40">
            <a:extLst>
              <a:ext uri="{FF2B5EF4-FFF2-40B4-BE49-F238E27FC236}">
                <a16:creationId xmlns:a16="http://schemas.microsoft.com/office/drawing/2014/main" id="{699CB334-61E9-41FE-A20A-F913C545E64B}"/>
              </a:ext>
            </a:extLst>
          </p:cNvPr>
          <p:cNvSpPr/>
          <p:nvPr/>
        </p:nvSpPr>
        <p:spPr>
          <a:xfrm>
            <a:off x="5569973" y="4405254"/>
            <a:ext cx="584469" cy="716683"/>
          </a:xfrm>
          <a:prstGeom prst="flowChartMultidocument">
            <a:avLst/>
          </a:prstGeom>
          <a:solidFill>
            <a:srgbClr val="92D050"/>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sz="1350" dirty="0"/>
              <a:t>20-40</a:t>
            </a:r>
          </a:p>
        </p:txBody>
      </p:sp>
      <p:sp>
        <p:nvSpPr>
          <p:cNvPr id="43" name="Flowchart: Multidocument 42">
            <a:extLst>
              <a:ext uri="{FF2B5EF4-FFF2-40B4-BE49-F238E27FC236}">
                <a16:creationId xmlns:a16="http://schemas.microsoft.com/office/drawing/2014/main" id="{362AD0BD-8457-4202-8262-ABFC496B43AA}"/>
              </a:ext>
            </a:extLst>
          </p:cNvPr>
          <p:cNvSpPr/>
          <p:nvPr/>
        </p:nvSpPr>
        <p:spPr>
          <a:xfrm>
            <a:off x="5521016" y="3121870"/>
            <a:ext cx="584469" cy="716683"/>
          </a:xfrm>
          <a:prstGeom prst="flowChartMultidocument">
            <a:avLst/>
          </a:prstGeom>
          <a:solidFill>
            <a:srgbClr val="92D050"/>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US" sz="1350" dirty="0"/>
              <a:t>20-40</a:t>
            </a:r>
          </a:p>
        </p:txBody>
      </p:sp>
      <p:pic>
        <p:nvPicPr>
          <p:cNvPr id="1026" name="Picture 2" descr="Water, Oil, Gas Other Vector &amp; Photo (Free Trial) | Bigstock">
            <a:extLst>
              <a:ext uri="{FF2B5EF4-FFF2-40B4-BE49-F238E27FC236}">
                <a16:creationId xmlns:a16="http://schemas.microsoft.com/office/drawing/2014/main" id="{2DD579B1-4AD0-4EEC-9119-49DAA62D36E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b="13142"/>
          <a:stretch/>
        </p:blipFill>
        <p:spPr bwMode="auto">
          <a:xfrm>
            <a:off x="6428205" y="4584298"/>
            <a:ext cx="1443038" cy="1116884"/>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oup 45">
            <a:extLst>
              <a:ext uri="{FF2B5EF4-FFF2-40B4-BE49-F238E27FC236}">
                <a16:creationId xmlns:a16="http://schemas.microsoft.com/office/drawing/2014/main" id="{DA0EA3C7-C7B7-4BDB-A1D2-14DC9CE157E9}"/>
              </a:ext>
            </a:extLst>
          </p:cNvPr>
          <p:cNvGrpSpPr/>
          <p:nvPr/>
        </p:nvGrpSpPr>
        <p:grpSpPr>
          <a:xfrm rot="5400000">
            <a:off x="5679559" y="2849152"/>
            <a:ext cx="248311" cy="290477"/>
            <a:chOff x="6094214" y="1127677"/>
            <a:chExt cx="331081" cy="387302"/>
          </a:xfrm>
        </p:grpSpPr>
        <p:sp>
          <p:nvSpPr>
            <p:cNvPr id="49" name="Arrow: Right 48">
              <a:extLst>
                <a:ext uri="{FF2B5EF4-FFF2-40B4-BE49-F238E27FC236}">
                  <a16:creationId xmlns:a16="http://schemas.microsoft.com/office/drawing/2014/main" id="{36EDCDCD-86CF-4712-BB54-C489FEB685A9}"/>
                </a:ext>
              </a:extLst>
            </p:cNvPr>
            <p:cNvSpPr/>
            <p:nvPr/>
          </p:nvSpPr>
          <p:spPr>
            <a:xfrm>
              <a:off x="6094214" y="1127677"/>
              <a:ext cx="331081" cy="387302"/>
            </a:xfrm>
            <a:prstGeom prst="rightArrow">
              <a:avLst>
                <a:gd name="adj1" fmla="val 60000"/>
                <a:gd name="adj2" fmla="val 50000"/>
              </a:avLst>
            </a:prstGeom>
          </p:spPr>
          <p:style>
            <a:lnRef idx="0">
              <a:schemeClr val="dk1">
                <a:tint val="60000"/>
                <a:hueOff val="0"/>
                <a:satOff val="0"/>
                <a:lumOff val="0"/>
                <a:alphaOff val="0"/>
              </a:schemeClr>
            </a:lnRef>
            <a:fillRef idx="1">
              <a:schemeClr val="dk1">
                <a:tint val="60000"/>
                <a:hueOff val="0"/>
                <a:satOff val="0"/>
                <a:lumOff val="0"/>
                <a:alphaOff val="0"/>
              </a:schemeClr>
            </a:fillRef>
            <a:effectRef idx="0">
              <a:schemeClr val="dk1">
                <a:tint val="60000"/>
                <a:hueOff val="0"/>
                <a:satOff val="0"/>
                <a:lumOff val="0"/>
                <a:alphaOff val="0"/>
              </a:schemeClr>
            </a:effectRef>
            <a:fontRef idx="minor">
              <a:schemeClr val="dk1">
                <a:hueOff val="0"/>
                <a:satOff val="0"/>
                <a:lumOff val="0"/>
                <a:alphaOff val="0"/>
              </a:schemeClr>
            </a:fontRef>
          </p:style>
        </p:sp>
        <p:sp>
          <p:nvSpPr>
            <p:cNvPr id="50" name="Arrow: Right 4">
              <a:extLst>
                <a:ext uri="{FF2B5EF4-FFF2-40B4-BE49-F238E27FC236}">
                  <a16:creationId xmlns:a16="http://schemas.microsoft.com/office/drawing/2014/main" id="{1C7F045E-46A5-420E-B14A-DB52A4D3BE1E}"/>
                </a:ext>
              </a:extLst>
            </p:cNvPr>
            <p:cNvSpPr txBox="1"/>
            <p:nvPr/>
          </p:nvSpPr>
          <p:spPr>
            <a:xfrm>
              <a:off x="6094214" y="1205137"/>
              <a:ext cx="231757" cy="2323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en-US" sz="1050" kern="1200"/>
            </a:p>
          </p:txBody>
        </p:sp>
      </p:grpSp>
      <p:grpSp>
        <p:nvGrpSpPr>
          <p:cNvPr id="51" name="Group 50">
            <a:extLst>
              <a:ext uri="{FF2B5EF4-FFF2-40B4-BE49-F238E27FC236}">
                <a16:creationId xmlns:a16="http://schemas.microsoft.com/office/drawing/2014/main" id="{2609B8D9-05CA-4E4B-A9AA-5DFB235BEAE7}"/>
              </a:ext>
            </a:extLst>
          </p:cNvPr>
          <p:cNvGrpSpPr/>
          <p:nvPr/>
        </p:nvGrpSpPr>
        <p:grpSpPr>
          <a:xfrm>
            <a:off x="4939088" y="4735281"/>
            <a:ext cx="248163" cy="290304"/>
            <a:chOff x="3907164" y="589156"/>
            <a:chExt cx="330884" cy="387072"/>
          </a:xfrm>
        </p:grpSpPr>
        <p:sp>
          <p:nvSpPr>
            <p:cNvPr id="52" name="Arrow: Right 51">
              <a:extLst>
                <a:ext uri="{FF2B5EF4-FFF2-40B4-BE49-F238E27FC236}">
                  <a16:creationId xmlns:a16="http://schemas.microsoft.com/office/drawing/2014/main" id="{DC2F59D9-979C-4CA2-9124-1D48FF0452CF}"/>
                </a:ext>
              </a:extLst>
            </p:cNvPr>
            <p:cNvSpPr/>
            <p:nvPr/>
          </p:nvSpPr>
          <p:spPr>
            <a:xfrm>
              <a:off x="3907164" y="589156"/>
              <a:ext cx="330884" cy="387072"/>
            </a:xfrm>
            <a:prstGeom prst="rightArrow">
              <a:avLst>
                <a:gd name="adj1" fmla="val 60000"/>
                <a:gd name="adj2" fmla="val 50000"/>
              </a:avLst>
            </a:prstGeom>
          </p:spPr>
          <p:style>
            <a:lnRef idx="0">
              <a:schemeClr val="dk1">
                <a:tint val="60000"/>
                <a:hueOff val="0"/>
                <a:satOff val="0"/>
                <a:lumOff val="0"/>
                <a:alphaOff val="0"/>
              </a:schemeClr>
            </a:lnRef>
            <a:fillRef idx="1">
              <a:schemeClr val="dk1">
                <a:tint val="60000"/>
                <a:hueOff val="0"/>
                <a:satOff val="0"/>
                <a:lumOff val="0"/>
                <a:alphaOff val="0"/>
              </a:schemeClr>
            </a:fillRef>
            <a:effectRef idx="0">
              <a:schemeClr val="dk1">
                <a:tint val="60000"/>
                <a:hueOff val="0"/>
                <a:satOff val="0"/>
                <a:lumOff val="0"/>
                <a:alphaOff val="0"/>
              </a:schemeClr>
            </a:effectRef>
            <a:fontRef idx="minor">
              <a:schemeClr val="dk1">
                <a:hueOff val="0"/>
                <a:satOff val="0"/>
                <a:lumOff val="0"/>
                <a:alphaOff val="0"/>
              </a:schemeClr>
            </a:fontRef>
          </p:style>
        </p:sp>
        <p:sp>
          <p:nvSpPr>
            <p:cNvPr id="53" name="Arrow: Right 4">
              <a:extLst>
                <a:ext uri="{FF2B5EF4-FFF2-40B4-BE49-F238E27FC236}">
                  <a16:creationId xmlns:a16="http://schemas.microsoft.com/office/drawing/2014/main" id="{97D8F142-1588-45D3-8B77-E55573549D81}"/>
                </a:ext>
              </a:extLst>
            </p:cNvPr>
            <p:cNvSpPr txBox="1"/>
            <p:nvPr/>
          </p:nvSpPr>
          <p:spPr>
            <a:xfrm>
              <a:off x="3907164" y="666570"/>
              <a:ext cx="231619" cy="23224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0" lvl="0" indent="0" algn="ctr" defTabSz="466725">
                <a:lnSpc>
                  <a:spcPct val="90000"/>
                </a:lnSpc>
                <a:spcBef>
                  <a:spcPct val="0"/>
                </a:spcBef>
                <a:spcAft>
                  <a:spcPct val="35000"/>
                </a:spcAft>
                <a:buNone/>
              </a:pPr>
              <a:endParaRPr lang="en-US" sz="1050" kern="1200"/>
            </a:p>
          </p:txBody>
        </p:sp>
      </p:grpSp>
      <p:sp>
        <p:nvSpPr>
          <p:cNvPr id="54" name="Cube 53">
            <a:extLst>
              <a:ext uri="{FF2B5EF4-FFF2-40B4-BE49-F238E27FC236}">
                <a16:creationId xmlns:a16="http://schemas.microsoft.com/office/drawing/2014/main" id="{FCF1356E-29D0-4AF5-B257-3D5992F7F63E}"/>
              </a:ext>
            </a:extLst>
          </p:cNvPr>
          <p:cNvSpPr/>
          <p:nvPr/>
        </p:nvSpPr>
        <p:spPr>
          <a:xfrm>
            <a:off x="7401849" y="3775511"/>
            <a:ext cx="858647" cy="720763"/>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900" dirty="0"/>
              <a:t>Successful launch meetings</a:t>
            </a:r>
          </a:p>
        </p:txBody>
      </p:sp>
      <p:sp>
        <p:nvSpPr>
          <p:cNvPr id="55" name="Cube 54">
            <a:extLst>
              <a:ext uri="{FF2B5EF4-FFF2-40B4-BE49-F238E27FC236}">
                <a16:creationId xmlns:a16="http://schemas.microsoft.com/office/drawing/2014/main" id="{B19C459F-F0AC-4436-9A34-C3C447C39100}"/>
              </a:ext>
            </a:extLst>
          </p:cNvPr>
          <p:cNvSpPr/>
          <p:nvPr/>
        </p:nvSpPr>
        <p:spPr>
          <a:xfrm>
            <a:off x="8141437" y="3789261"/>
            <a:ext cx="858647" cy="720763"/>
          </a:xfrm>
          <a:prstGeom prst="cub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900" dirty="0"/>
              <a:t>IN-FLIGHT PAIRS 1-10</a:t>
            </a:r>
          </a:p>
        </p:txBody>
      </p:sp>
    </p:spTree>
    <p:extLst>
      <p:ext uri="{BB962C8B-B14F-4D97-AF65-F5344CB8AC3E}">
        <p14:creationId xmlns:p14="http://schemas.microsoft.com/office/powerpoint/2010/main" val="35829248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imeline&#10;&#10;Description automatically generated">
            <a:extLst>
              <a:ext uri="{FF2B5EF4-FFF2-40B4-BE49-F238E27FC236}">
                <a16:creationId xmlns:a16="http://schemas.microsoft.com/office/drawing/2014/main" id="{56E1C2B8-D1B1-45E8-8BD8-AE10D64171A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8429" y="228600"/>
            <a:ext cx="7069128" cy="5638800"/>
          </a:xfrm>
        </p:spPr>
      </p:pic>
      <p:sp>
        <p:nvSpPr>
          <p:cNvPr id="4" name="Slide Number Placeholder 3">
            <a:extLst>
              <a:ext uri="{FF2B5EF4-FFF2-40B4-BE49-F238E27FC236}">
                <a16:creationId xmlns:a16="http://schemas.microsoft.com/office/drawing/2014/main" id="{1CDFEDE8-813C-4366-94D8-DF04BAD1F279}"/>
              </a:ext>
            </a:extLst>
          </p:cNvPr>
          <p:cNvSpPr>
            <a:spLocks noGrp="1"/>
          </p:cNvSpPr>
          <p:nvPr>
            <p:ph type="sldNum" sz="quarter" idx="12"/>
          </p:nvPr>
        </p:nvSpPr>
        <p:spPr/>
        <p:txBody>
          <a:bodyPr/>
          <a:lstStyle/>
          <a:p>
            <a:fld id="{602F7A02-EF0D-4D82-9BFD-3DDF074AABBD}" type="slidenum">
              <a:rPr lang="en-CA" smtClean="0"/>
              <a:t>24</a:t>
            </a:fld>
            <a:endParaRPr lang="en-CA" dirty="0"/>
          </a:p>
        </p:txBody>
      </p:sp>
      <p:sp>
        <p:nvSpPr>
          <p:cNvPr id="2" name="Rectangle 1">
            <a:extLst>
              <a:ext uri="{FF2B5EF4-FFF2-40B4-BE49-F238E27FC236}">
                <a16:creationId xmlns:a16="http://schemas.microsoft.com/office/drawing/2014/main" id="{98286510-4C9A-4F8D-8A22-F83B73CC6189}"/>
              </a:ext>
            </a:extLst>
          </p:cNvPr>
          <p:cNvSpPr/>
          <p:nvPr/>
        </p:nvSpPr>
        <p:spPr>
          <a:xfrm>
            <a:off x="7476565" y="1269206"/>
            <a:ext cx="1459006" cy="41129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dirty="0">
                <a:solidFill>
                  <a:schemeClr val="bg1"/>
                </a:solidFill>
              </a:rPr>
              <a:t>TPG utilized (compliments of Moresteam) Process Playground to create a simulation model for the front end and back-end of the Value Stream.</a:t>
            </a:r>
          </a:p>
          <a:p>
            <a:endParaRPr lang="en-US" sz="1050" dirty="0">
              <a:solidFill>
                <a:schemeClr val="bg1"/>
              </a:solidFill>
            </a:endParaRPr>
          </a:p>
          <a:p>
            <a:r>
              <a:rPr lang="en-US" sz="1050" dirty="0">
                <a:solidFill>
                  <a:schemeClr val="bg1"/>
                </a:solidFill>
              </a:rPr>
              <a:t>The model is in validation stages but just doing this significantly improved our ability to understand the system (more than just doing a value stream map).</a:t>
            </a:r>
          </a:p>
          <a:p>
            <a:endParaRPr lang="en-US" sz="1050" dirty="0">
              <a:solidFill>
                <a:schemeClr val="bg1"/>
              </a:solidFill>
            </a:endParaRPr>
          </a:p>
          <a:p>
            <a:r>
              <a:rPr lang="en-US" sz="1050" dirty="0">
                <a:solidFill>
                  <a:schemeClr val="bg1"/>
                </a:solidFill>
              </a:rPr>
              <a:t>We will be using the model to confirm our engineered forecasts of solution element impact on LT and Capacity.</a:t>
            </a:r>
          </a:p>
        </p:txBody>
      </p:sp>
    </p:spTree>
    <p:extLst>
      <p:ext uri="{BB962C8B-B14F-4D97-AF65-F5344CB8AC3E}">
        <p14:creationId xmlns:p14="http://schemas.microsoft.com/office/powerpoint/2010/main" val="1215911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63500196-5DD5-4312-8F2E-3B90F2CC8744}"/>
              </a:ext>
            </a:extLst>
          </p:cNvPr>
          <p:cNvSpPr>
            <a:spLocks noGrp="1"/>
          </p:cNvSpPr>
          <p:nvPr>
            <p:ph type="title"/>
          </p:nvPr>
        </p:nvSpPr>
        <p:spPr>
          <a:xfrm>
            <a:off x="457200" y="550863"/>
            <a:ext cx="6275388" cy="742950"/>
          </a:xfrm>
        </p:spPr>
        <p:txBody>
          <a:bodyPr/>
          <a:lstStyle/>
          <a:p>
            <a:r>
              <a:rPr lang="en-US" altLang="en-US" sz="2800"/>
              <a:t>Zoom In:</a:t>
            </a:r>
            <a:br>
              <a:rPr lang="en-US" altLang="en-US" sz="2800"/>
            </a:br>
            <a:r>
              <a:rPr lang="en-US" altLang="en-US" sz="2400"/>
              <a:t>Saltine Line Control Points</a:t>
            </a:r>
            <a:endParaRPr lang="en-US" altLang="en-US" sz="2800"/>
          </a:p>
        </p:txBody>
      </p:sp>
      <p:sp>
        <p:nvSpPr>
          <p:cNvPr id="19459" name="Date Placeholder 3">
            <a:extLst>
              <a:ext uri="{FF2B5EF4-FFF2-40B4-BE49-F238E27FC236}">
                <a16:creationId xmlns:a16="http://schemas.microsoft.com/office/drawing/2014/main" id="{D13B6E7B-B8F4-4BBE-A430-5F938EFE92CB}"/>
              </a:ext>
            </a:extLst>
          </p:cNvPr>
          <p:cNvSpPr>
            <a:spLocks noGrp="1"/>
          </p:cNvSpPr>
          <p:nvPr>
            <p:ph type="dt" sz="quarter" idx="10"/>
          </p:nvPr>
        </p:nvSpPr>
        <p:spPr>
          <a:xfrm>
            <a:off x="457200" y="6496050"/>
            <a:ext cx="3038475" cy="2190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de-DE" altLang="en-US"/>
              <a:t> - </a:t>
            </a:r>
            <a:fld id="{8129B5F5-B6AB-44E3-8459-9958E4222284}" type="datetime1">
              <a:rPr lang="de-DE" altLang="en-US"/>
              <a:pPr eaLnBrk="1" hangingPunct="1"/>
              <a:t>12.06.2023</a:t>
            </a:fld>
            <a:r>
              <a:rPr lang="de-DE" altLang="en-US"/>
              <a:t> - </a:t>
            </a:r>
            <a:fld id="{B4E7EE32-7A72-49D9-A443-3C8793AFE23E}" type="slidenum">
              <a:rPr lang="de-DE" altLang="en-US"/>
              <a:pPr eaLnBrk="1" hangingPunct="1"/>
              <a:t>25</a:t>
            </a:fld>
            <a:endParaRPr lang="de-DE" altLang="en-US"/>
          </a:p>
          <a:p>
            <a:pPr eaLnBrk="1" hangingPunct="1"/>
            <a:endParaRPr lang="de-DE" altLang="en-US"/>
          </a:p>
        </p:txBody>
      </p:sp>
      <p:pic>
        <p:nvPicPr>
          <p:cNvPr id="19460" name="Picture 11">
            <a:extLst>
              <a:ext uri="{FF2B5EF4-FFF2-40B4-BE49-F238E27FC236}">
                <a16:creationId xmlns:a16="http://schemas.microsoft.com/office/drawing/2014/main" id="{D0DF7D7B-F629-4889-A7AE-65FE5776FC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9100" y="404813"/>
            <a:ext cx="1042988"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1" name="Picture 7">
            <a:extLst>
              <a:ext uri="{FF2B5EF4-FFF2-40B4-BE49-F238E27FC236}">
                <a16:creationId xmlns:a16="http://schemas.microsoft.com/office/drawing/2014/main" id="{DE76D29B-85AF-4E0B-B5C6-7D452C951D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201" t="15961" r="1826" b="23039"/>
          <a:stretch>
            <a:fillRect/>
          </a:stretch>
        </p:blipFill>
        <p:spPr bwMode="auto">
          <a:xfrm>
            <a:off x="-1588" y="1387475"/>
            <a:ext cx="9145588"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6E7F6914-390A-4200-B6D6-BFFBB2AD8521}"/>
              </a:ext>
            </a:extLst>
          </p:cNvPr>
          <p:cNvSpPr/>
          <p:nvPr/>
        </p:nvSpPr>
        <p:spPr>
          <a:xfrm>
            <a:off x="1314450" y="3802063"/>
            <a:ext cx="574675" cy="79216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 name="Rectangle 9">
            <a:extLst>
              <a:ext uri="{FF2B5EF4-FFF2-40B4-BE49-F238E27FC236}">
                <a16:creationId xmlns:a16="http://schemas.microsoft.com/office/drawing/2014/main" id="{13738C13-5D0A-4192-86AE-57FFCB593DCB}"/>
              </a:ext>
            </a:extLst>
          </p:cNvPr>
          <p:cNvSpPr/>
          <p:nvPr/>
        </p:nvSpPr>
        <p:spPr>
          <a:xfrm>
            <a:off x="2994025" y="3802063"/>
            <a:ext cx="738188" cy="79216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 name="Rectangle 10">
            <a:extLst>
              <a:ext uri="{FF2B5EF4-FFF2-40B4-BE49-F238E27FC236}">
                <a16:creationId xmlns:a16="http://schemas.microsoft.com/office/drawing/2014/main" id="{98B57CE9-4F79-4A1F-8AF7-B8306083A220}"/>
              </a:ext>
            </a:extLst>
          </p:cNvPr>
          <p:cNvSpPr/>
          <p:nvPr/>
        </p:nvSpPr>
        <p:spPr>
          <a:xfrm>
            <a:off x="3725863" y="3802063"/>
            <a:ext cx="558800" cy="79216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Rectangle 11">
            <a:extLst>
              <a:ext uri="{FF2B5EF4-FFF2-40B4-BE49-F238E27FC236}">
                <a16:creationId xmlns:a16="http://schemas.microsoft.com/office/drawing/2014/main" id="{E9F5445D-9DC6-418B-AAF6-F19C7326DC75}"/>
              </a:ext>
            </a:extLst>
          </p:cNvPr>
          <p:cNvSpPr/>
          <p:nvPr/>
        </p:nvSpPr>
        <p:spPr>
          <a:xfrm>
            <a:off x="5364163" y="3802063"/>
            <a:ext cx="557212" cy="79216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 name="Rectangle 12">
            <a:extLst>
              <a:ext uri="{FF2B5EF4-FFF2-40B4-BE49-F238E27FC236}">
                <a16:creationId xmlns:a16="http://schemas.microsoft.com/office/drawing/2014/main" id="{24FD04A4-838D-4822-8A7B-E44CF414854E}"/>
              </a:ext>
            </a:extLst>
          </p:cNvPr>
          <p:cNvSpPr/>
          <p:nvPr/>
        </p:nvSpPr>
        <p:spPr>
          <a:xfrm>
            <a:off x="6402388" y="3225800"/>
            <a:ext cx="557212" cy="136842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4" name="Down Arrow Callout 13">
            <a:extLst>
              <a:ext uri="{FF2B5EF4-FFF2-40B4-BE49-F238E27FC236}">
                <a16:creationId xmlns:a16="http://schemas.microsoft.com/office/drawing/2014/main" id="{830678A1-C76B-47BE-96CB-96E2A760BE0A}"/>
              </a:ext>
            </a:extLst>
          </p:cNvPr>
          <p:cNvSpPr/>
          <p:nvPr/>
        </p:nvSpPr>
        <p:spPr>
          <a:xfrm>
            <a:off x="884238" y="2863850"/>
            <a:ext cx="1416050" cy="914400"/>
          </a:xfrm>
          <a:prstGeom prst="down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MIXING</a:t>
            </a:r>
          </a:p>
          <a:p>
            <a:pPr algn="ctr">
              <a:defRPr/>
            </a:pPr>
            <a:r>
              <a:rPr lang="en-US" sz="1200" b="1" dirty="0"/>
              <a:t>Waste = 3.97%</a:t>
            </a:r>
          </a:p>
          <a:p>
            <a:pPr algn="ctr">
              <a:defRPr/>
            </a:pPr>
            <a:r>
              <a:rPr lang="en-US" sz="1100" dirty="0"/>
              <a:t>(0.56% production)</a:t>
            </a:r>
          </a:p>
        </p:txBody>
      </p:sp>
      <p:sp>
        <p:nvSpPr>
          <p:cNvPr id="15" name="Down Arrow Callout 14">
            <a:extLst>
              <a:ext uri="{FF2B5EF4-FFF2-40B4-BE49-F238E27FC236}">
                <a16:creationId xmlns:a16="http://schemas.microsoft.com/office/drawing/2014/main" id="{31B4988B-EDD9-4396-8F00-01359D307B5B}"/>
              </a:ext>
            </a:extLst>
          </p:cNvPr>
          <p:cNvSpPr/>
          <p:nvPr/>
        </p:nvSpPr>
        <p:spPr>
          <a:xfrm>
            <a:off x="2605088" y="2863850"/>
            <a:ext cx="1500187" cy="914400"/>
          </a:xfrm>
          <a:prstGeom prst="down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SHEET ROLLING</a:t>
            </a:r>
          </a:p>
          <a:p>
            <a:pPr algn="ctr">
              <a:defRPr/>
            </a:pPr>
            <a:r>
              <a:rPr lang="en-US" sz="1200" b="1" dirty="0"/>
              <a:t>Waste = 12.01%</a:t>
            </a:r>
          </a:p>
          <a:p>
            <a:pPr algn="ctr">
              <a:defRPr/>
            </a:pPr>
            <a:r>
              <a:rPr lang="en-US" sz="1100" dirty="0"/>
              <a:t>(1.70% production)</a:t>
            </a:r>
          </a:p>
        </p:txBody>
      </p:sp>
      <p:sp>
        <p:nvSpPr>
          <p:cNvPr id="17" name="Up Arrow Callout 16">
            <a:extLst>
              <a:ext uri="{FF2B5EF4-FFF2-40B4-BE49-F238E27FC236}">
                <a16:creationId xmlns:a16="http://schemas.microsoft.com/office/drawing/2014/main" id="{6411E2BF-B63A-407E-ADEF-B8238929154D}"/>
              </a:ext>
            </a:extLst>
          </p:cNvPr>
          <p:cNvSpPr/>
          <p:nvPr/>
        </p:nvSpPr>
        <p:spPr>
          <a:xfrm>
            <a:off x="3298825" y="4621213"/>
            <a:ext cx="1441450" cy="914400"/>
          </a:xfrm>
          <a:prstGeom prst="up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BAKING</a:t>
            </a:r>
          </a:p>
          <a:p>
            <a:pPr algn="ctr">
              <a:defRPr/>
            </a:pPr>
            <a:r>
              <a:rPr lang="en-US" sz="1200" b="1" dirty="0"/>
              <a:t>Waste = 2.82%</a:t>
            </a:r>
          </a:p>
          <a:p>
            <a:pPr algn="ctr">
              <a:defRPr/>
            </a:pPr>
            <a:r>
              <a:rPr lang="en-US" sz="1100" dirty="0"/>
              <a:t>(0.40 % production)</a:t>
            </a:r>
          </a:p>
        </p:txBody>
      </p:sp>
      <p:sp>
        <p:nvSpPr>
          <p:cNvPr id="18" name="Down Arrow Callout 17">
            <a:extLst>
              <a:ext uri="{FF2B5EF4-FFF2-40B4-BE49-F238E27FC236}">
                <a16:creationId xmlns:a16="http://schemas.microsoft.com/office/drawing/2014/main" id="{17B284C4-2979-4B0A-86B1-68D5AB83C5B4}"/>
              </a:ext>
            </a:extLst>
          </p:cNvPr>
          <p:cNvSpPr/>
          <p:nvPr/>
        </p:nvSpPr>
        <p:spPr>
          <a:xfrm>
            <a:off x="4927600" y="2863850"/>
            <a:ext cx="1416050" cy="914400"/>
          </a:xfrm>
          <a:prstGeom prst="down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STACKING</a:t>
            </a:r>
          </a:p>
          <a:p>
            <a:pPr algn="ctr">
              <a:defRPr/>
            </a:pPr>
            <a:r>
              <a:rPr lang="en-US" sz="1200" b="1" dirty="0"/>
              <a:t>Waste = 63.49%</a:t>
            </a:r>
          </a:p>
          <a:p>
            <a:pPr algn="ctr">
              <a:defRPr/>
            </a:pPr>
            <a:r>
              <a:rPr lang="en-US" sz="1100" dirty="0"/>
              <a:t>(9.00% production)</a:t>
            </a:r>
          </a:p>
        </p:txBody>
      </p:sp>
      <p:sp>
        <p:nvSpPr>
          <p:cNvPr id="19" name="Up Arrow Callout 18">
            <a:extLst>
              <a:ext uri="{FF2B5EF4-FFF2-40B4-BE49-F238E27FC236}">
                <a16:creationId xmlns:a16="http://schemas.microsoft.com/office/drawing/2014/main" id="{B1569367-7259-43B2-B3AC-2BDBD17D1E97}"/>
              </a:ext>
            </a:extLst>
          </p:cNvPr>
          <p:cNvSpPr/>
          <p:nvPr/>
        </p:nvSpPr>
        <p:spPr>
          <a:xfrm>
            <a:off x="5984875" y="4603750"/>
            <a:ext cx="1439863" cy="914400"/>
          </a:xfrm>
          <a:prstGeom prst="up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WRAPPING</a:t>
            </a:r>
          </a:p>
          <a:p>
            <a:pPr algn="ctr">
              <a:defRPr/>
            </a:pPr>
            <a:r>
              <a:rPr lang="en-US" sz="1200" b="1" dirty="0"/>
              <a:t>Waste = 17.71%</a:t>
            </a:r>
          </a:p>
          <a:p>
            <a:pPr algn="ctr">
              <a:defRPr/>
            </a:pPr>
            <a:r>
              <a:rPr lang="en-US" sz="1100" dirty="0"/>
              <a:t>(2.51 % production)</a:t>
            </a:r>
          </a:p>
        </p:txBody>
      </p:sp>
      <p:sp>
        <p:nvSpPr>
          <p:cNvPr id="25" name="Rectangle 24">
            <a:extLst>
              <a:ext uri="{FF2B5EF4-FFF2-40B4-BE49-F238E27FC236}">
                <a16:creationId xmlns:a16="http://schemas.microsoft.com/office/drawing/2014/main" id="{D15ABD59-C4B0-4C28-ABAA-CEBE54BD4544}"/>
              </a:ext>
            </a:extLst>
          </p:cNvPr>
          <p:cNvSpPr/>
          <p:nvPr/>
        </p:nvSpPr>
        <p:spPr>
          <a:xfrm>
            <a:off x="8066088" y="3727450"/>
            <a:ext cx="466725" cy="700088"/>
          </a:xfrm>
          <a:prstGeom prst="rect">
            <a:avLst/>
          </a:prstGeom>
          <a:noFill/>
          <a:ln w="38100">
            <a:solidFill>
              <a:srgbClr val="C00000"/>
            </a:solidFill>
          </a:ln>
        </p:spPr>
        <p:style>
          <a:lnRef idx="2">
            <a:schemeClr val="accent3"/>
          </a:lnRef>
          <a:fillRef idx="1">
            <a:schemeClr val="lt1"/>
          </a:fillRef>
          <a:effectRef idx="0">
            <a:schemeClr val="accent3"/>
          </a:effectRef>
          <a:fontRef idx="minor">
            <a:schemeClr val="dk1"/>
          </a:fontRef>
        </p:style>
        <p:txBody>
          <a:bodyPr anchor="ctr"/>
          <a:lstStyle/>
          <a:p>
            <a:pPr algn="ctr">
              <a:defRPr/>
            </a:pPr>
            <a:endParaRPr lang="en-US"/>
          </a:p>
        </p:txBody>
      </p:sp>
      <p:sp>
        <p:nvSpPr>
          <p:cNvPr id="24" name="Rectangle 23">
            <a:extLst>
              <a:ext uri="{FF2B5EF4-FFF2-40B4-BE49-F238E27FC236}">
                <a16:creationId xmlns:a16="http://schemas.microsoft.com/office/drawing/2014/main" id="{1C78CBE2-2176-49A3-9C9C-273CD0FC202B}"/>
              </a:ext>
            </a:extLst>
          </p:cNvPr>
          <p:cNvSpPr/>
          <p:nvPr/>
        </p:nvSpPr>
        <p:spPr>
          <a:xfrm>
            <a:off x="179388" y="3733800"/>
            <a:ext cx="4392612" cy="936625"/>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6" name="Rectangle 25">
            <a:extLst>
              <a:ext uri="{FF2B5EF4-FFF2-40B4-BE49-F238E27FC236}">
                <a16:creationId xmlns:a16="http://schemas.microsoft.com/office/drawing/2014/main" id="{3B35E66D-07A7-408D-85B0-314EAD78B940}"/>
              </a:ext>
            </a:extLst>
          </p:cNvPr>
          <p:cNvSpPr/>
          <p:nvPr/>
        </p:nvSpPr>
        <p:spPr>
          <a:xfrm>
            <a:off x="4572000" y="3148013"/>
            <a:ext cx="4392613" cy="1525587"/>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7" name="Down Arrow Callout 26">
            <a:extLst>
              <a:ext uri="{FF2B5EF4-FFF2-40B4-BE49-F238E27FC236}">
                <a16:creationId xmlns:a16="http://schemas.microsoft.com/office/drawing/2014/main" id="{3E997F9C-6BA5-434A-82DF-B9D7545DD301}"/>
              </a:ext>
            </a:extLst>
          </p:cNvPr>
          <p:cNvSpPr/>
          <p:nvPr/>
        </p:nvSpPr>
        <p:spPr>
          <a:xfrm>
            <a:off x="1547813" y="2787650"/>
            <a:ext cx="1655762" cy="914400"/>
          </a:xfrm>
          <a:prstGeom prst="down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4</a:t>
            </a:r>
            <a:r>
              <a:rPr lang="en-US" sz="1200" b="1" baseline="30000" dirty="0"/>
              <a:t>th</a:t>
            </a:r>
            <a:r>
              <a:rPr lang="en-US" sz="1200" b="1" dirty="0"/>
              <a:t> Floor</a:t>
            </a:r>
          </a:p>
          <a:p>
            <a:pPr algn="ctr">
              <a:defRPr/>
            </a:pPr>
            <a:r>
              <a:rPr lang="en-US" sz="1200" b="1" dirty="0"/>
              <a:t>Waste = 1.66% </a:t>
            </a:r>
            <a:r>
              <a:rPr lang="en-US" sz="1200" dirty="0"/>
              <a:t>(production)</a:t>
            </a:r>
          </a:p>
        </p:txBody>
      </p:sp>
      <p:sp>
        <p:nvSpPr>
          <p:cNvPr id="28" name="Down Arrow Callout 27">
            <a:extLst>
              <a:ext uri="{FF2B5EF4-FFF2-40B4-BE49-F238E27FC236}">
                <a16:creationId xmlns:a16="http://schemas.microsoft.com/office/drawing/2014/main" id="{E8F8B8CD-D2E0-4DD4-8E9F-3F432889A540}"/>
              </a:ext>
            </a:extLst>
          </p:cNvPr>
          <p:cNvSpPr/>
          <p:nvPr/>
        </p:nvSpPr>
        <p:spPr>
          <a:xfrm>
            <a:off x="5940425" y="2211388"/>
            <a:ext cx="1655763" cy="914400"/>
          </a:xfrm>
          <a:prstGeom prst="down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3</a:t>
            </a:r>
            <a:r>
              <a:rPr lang="en-US" sz="1200" b="1" baseline="30000" dirty="0"/>
              <a:t>rd</a:t>
            </a:r>
            <a:r>
              <a:rPr lang="en-US" sz="1200" b="1" dirty="0"/>
              <a:t> Floor</a:t>
            </a:r>
          </a:p>
          <a:p>
            <a:pPr algn="ctr">
              <a:defRPr/>
            </a:pPr>
            <a:r>
              <a:rPr lang="en-US" sz="1200" b="1" dirty="0"/>
              <a:t>Waste = 12.77%</a:t>
            </a:r>
          </a:p>
          <a:p>
            <a:pPr algn="ctr">
              <a:defRPr/>
            </a:pPr>
            <a:r>
              <a:rPr lang="en-US" sz="1200" dirty="0"/>
              <a:t>(production)</a:t>
            </a:r>
          </a:p>
        </p:txBody>
      </p:sp>
      <p:sp>
        <p:nvSpPr>
          <p:cNvPr id="29" name="Title 1">
            <a:extLst>
              <a:ext uri="{FF2B5EF4-FFF2-40B4-BE49-F238E27FC236}">
                <a16:creationId xmlns:a16="http://schemas.microsoft.com/office/drawing/2014/main" id="{640268ED-9F3F-4D8E-9E72-034902603639}"/>
              </a:ext>
            </a:extLst>
          </p:cNvPr>
          <p:cNvSpPr txBox="1">
            <a:spLocks/>
          </p:cNvSpPr>
          <p:nvPr/>
        </p:nvSpPr>
        <p:spPr bwMode="auto">
          <a:xfrm>
            <a:off x="0" y="5492750"/>
            <a:ext cx="9144000" cy="930275"/>
          </a:xfrm>
          <a:prstGeom prst="rect">
            <a:avLst/>
          </a:prstGeom>
          <a:noFill/>
          <a:ln w="9525">
            <a:noFill/>
            <a:miter lim="800000"/>
            <a:headEnd/>
            <a:tailEnd/>
          </a:ln>
        </p:spPr>
        <p:txBody>
          <a:bodyPr anchor="ctr"/>
          <a:lstStyle/>
          <a:p>
            <a:pPr algn="ctr" eaLnBrk="0" hangingPunct="0">
              <a:defRPr/>
            </a:pPr>
            <a:r>
              <a:rPr lang="en-US" sz="1600" b="1" i="1" kern="0" dirty="0">
                <a:latin typeface="+mj-lt"/>
                <a:ea typeface="+mj-ea"/>
                <a:cs typeface="+mj-cs"/>
              </a:rPr>
              <a:t>This problem is nothing new and has actually been the focus of prior improvement projects.</a:t>
            </a:r>
          </a:p>
          <a:p>
            <a:pPr algn="ctr" eaLnBrk="0" hangingPunct="0">
              <a:defRPr/>
            </a:pPr>
            <a:r>
              <a:rPr lang="en-US" sz="1400" i="1" kern="0" dirty="0">
                <a:latin typeface="+mj-lt"/>
                <a:ea typeface="+mj-ea"/>
                <a:cs typeface="+mj-cs"/>
              </a:rPr>
              <a:t>We will take a look at 2 project that have sought to reduce the process variability and in turn, reduce waste.</a:t>
            </a:r>
          </a:p>
        </p:txBody>
      </p:sp>
    </p:spTree>
    <p:extLst>
      <p:ext uri="{BB962C8B-B14F-4D97-AF65-F5344CB8AC3E}">
        <p14:creationId xmlns:p14="http://schemas.microsoft.com/office/powerpoint/2010/main" val="37062662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24"/>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27"/>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8"/>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26"/>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nodeType="clickPar">
                      <p:stCondLst>
                        <p:cond delay="indefinite"/>
                      </p:stCondLst>
                      <p:childTnLst>
                        <p:par>
                          <p:cTn id="48" fill="hold" nodeType="withGroup">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7" grpId="0" animBg="1"/>
      <p:bldP spid="18" grpId="0" animBg="1"/>
      <p:bldP spid="19" grpId="0" animBg="1"/>
      <p:bldP spid="25" grpId="0" animBg="1"/>
      <p:bldP spid="24" grpId="0" animBg="1"/>
      <p:bldP spid="24" grpId="1" animBg="1"/>
      <p:bldP spid="26" grpId="0" animBg="1"/>
      <p:bldP spid="26" grpId="1" animBg="1"/>
      <p:bldP spid="27" grpId="0" animBg="1"/>
      <p:bldP spid="27" grpId="1" animBg="1"/>
      <p:bldP spid="28" grpId="0" animBg="1"/>
      <p:bldP spid="28" grpId="1" animBg="1"/>
      <p:bldP spid="2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737913-3D1E-DA8D-63B6-A020BE9DA04F}"/>
              </a:ext>
            </a:extLst>
          </p:cNvPr>
          <p:cNvSpPr>
            <a:spLocks noGrp="1"/>
          </p:cNvSpPr>
          <p:nvPr>
            <p:ph type="title"/>
          </p:nvPr>
        </p:nvSpPr>
        <p:spPr>
          <a:xfrm>
            <a:off x="457200" y="152400"/>
            <a:ext cx="7162799" cy="944562"/>
          </a:xfrm>
        </p:spPr>
        <p:txBody>
          <a:bodyPr/>
          <a:lstStyle/>
          <a:p>
            <a:r>
              <a:rPr lang="en-US" dirty="0"/>
              <a:t>Enterprise Value Creation for BBBST</a:t>
            </a:r>
          </a:p>
        </p:txBody>
      </p:sp>
      <p:sp>
        <p:nvSpPr>
          <p:cNvPr id="3" name="Content Placeholder 2">
            <a:extLst>
              <a:ext uri="{FF2B5EF4-FFF2-40B4-BE49-F238E27FC236}">
                <a16:creationId xmlns:a16="http://schemas.microsoft.com/office/drawing/2014/main" id="{EC53E337-0102-53E1-22F1-24C03D261F87}"/>
              </a:ext>
            </a:extLst>
          </p:cNvPr>
          <p:cNvSpPr>
            <a:spLocks noGrp="1"/>
          </p:cNvSpPr>
          <p:nvPr>
            <p:ph idx="1"/>
          </p:nvPr>
        </p:nvSpPr>
        <p:spPr/>
        <p:txBody>
          <a:bodyPr/>
          <a:lstStyle/>
          <a:p>
            <a:r>
              <a:rPr lang="en-US" sz="2000" dirty="0"/>
              <a:t>By helping them ‘Learn to See and Understand’ with simple value stream maps, the cross-functional team understood where the ‘constraints’ were.</a:t>
            </a:r>
          </a:p>
          <a:p>
            <a:endParaRPr lang="en-US" sz="2000" dirty="0"/>
          </a:p>
          <a:p>
            <a:r>
              <a:rPr lang="en-US" sz="2000" dirty="0"/>
              <a:t>By introducing the concept of ‘flow’ and getting the ‘buffers’ (good thing) and ‘bottlenecks’ (bad thing) right, adjusted properly they increased the ‘Primary Y’, Served Mentees, by 30% with no additional staffing, all caused by process improvement and a Visible Measurement System and Huddles and some great leadership.</a:t>
            </a:r>
          </a:p>
          <a:p>
            <a:pPr lvl="1"/>
            <a:r>
              <a:rPr lang="en-US" sz="1600" dirty="0"/>
              <a:t>Lead time to a ‘match’ and initial meeting came down from 24 months to under 12 and is still improving.  (target is 4 months)</a:t>
            </a:r>
          </a:p>
          <a:p>
            <a:pPr lvl="1"/>
            <a:endParaRPr lang="en-US" sz="1600" dirty="0"/>
          </a:p>
          <a:p>
            <a:r>
              <a:rPr lang="en-US" sz="2000" dirty="0"/>
              <a:t>Not an overly complex system but the principles, methods, and tools were verified and are an example I think you all can relate to.</a:t>
            </a:r>
          </a:p>
        </p:txBody>
      </p:sp>
    </p:spTree>
    <p:extLst>
      <p:ext uri="{BB962C8B-B14F-4D97-AF65-F5344CB8AC3E}">
        <p14:creationId xmlns:p14="http://schemas.microsoft.com/office/powerpoint/2010/main" val="37143190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E590AAF4-5EC4-4395-B45C-55DFFA5E7CAD}"/>
              </a:ext>
            </a:extLst>
          </p:cNvPr>
          <p:cNvSpPr>
            <a:spLocks noGrp="1"/>
          </p:cNvSpPr>
          <p:nvPr>
            <p:ph type="title"/>
          </p:nvPr>
        </p:nvSpPr>
        <p:spPr>
          <a:xfrm>
            <a:off x="457200" y="123825"/>
            <a:ext cx="7940675" cy="1095375"/>
          </a:xfrm>
        </p:spPr>
        <p:txBody>
          <a:bodyPr/>
          <a:lstStyle/>
          <a:p>
            <a:pPr eaLnBrk="1" hangingPunct="1"/>
            <a:r>
              <a:rPr lang="en-US" altLang="en-US" sz="2800" dirty="0"/>
              <a:t>The Management Systems Model—who Manages and how we provide better Decision-Action/Study-Adjust support</a:t>
            </a:r>
          </a:p>
        </p:txBody>
      </p:sp>
      <p:sp>
        <p:nvSpPr>
          <p:cNvPr id="5" name="Oval 4">
            <a:extLst>
              <a:ext uri="{FF2B5EF4-FFF2-40B4-BE49-F238E27FC236}">
                <a16:creationId xmlns:a16="http://schemas.microsoft.com/office/drawing/2014/main" id="{1CFCAD91-B0F7-4F0D-A039-4E997C3137E9}"/>
              </a:ext>
            </a:extLst>
          </p:cNvPr>
          <p:cNvSpPr/>
          <p:nvPr/>
        </p:nvSpPr>
        <p:spPr>
          <a:xfrm>
            <a:off x="2382838" y="4813300"/>
            <a:ext cx="3962400" cy="1908175"/>
          </a:xfrm>
          <a:prstGeom prst="ellipse">
            <a:avLst/>
          </a:prstGeom>
          <a:solidFill>
            <a:schemeClr val="tx2">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800" b="1" dirty="0">
                <a:solidFill>
                  <a:prstClr val="white"/>
                </a:solidFill>
              </a:rPr>
              <a:t>The Business Processes/Value Streams</a:t>
            </a:r>
          </a:p>
          <a:p>
            <a:pPr algn="ctr" fontAlgn="auto">
              <a:spcBef>
                <a:spcPts val="0"/>
              </a:spcBef>
              <a:spcAft>
                <a:spcPts val="0"/>
              </a:spcAft>
              <a:defRPr/>
            </a:pPr>
            <a:endParaRPr lang="en-US" sz="1800" dirty="0">
              <a:solidFill>
                <a:prstClr val="white"/>
              </a:solidFill>
            </a:endParaRPr>
          </a:p>
        </p:txBody>
      </p:sp>
      <p:sp>
        <p:nvSpPr>
          <p:cNvPr id="8" name="Right Arrow 7">
            <a:extLst>
              <a:ext uri="{FF2B5EF4-FFF2-40B4-BE49-F238E27FC236}">
                <a16:creationId xmlns:a16="http://schemas.microsoft.com/office/drawing/2014/main" id="{A31D1CF0-F471-413F-8950-7C34FED0A775}"/>
              </a:ext>
            </a:extLst>
          </p:cNvPr>
          <p:cNvSpPr/>
          <p:nvPr/>
        </p:nvSpPr>
        <p:spPr>
          <a:xfrm>
            <a:off x="1670050" y="5357813"/>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9" name="Right Arrow 8">
            <a:extLst>
              <a:ext uri="{FF2B5EF4-FFF2-40B4-BE49-F238E27FC236}">
                <a16:creationId xmlns:a16="http://schemas.microsoft.com/office/drawing/2014/main" id="{CE26577A-1A83-459D-9D29-595E63A23AB9}"/>
              </a:ext>
            </a:extLst>
          </p:cNvPr>
          <p:cNvSpPr/>
          <p:nvPr/>
        </p:nvSpPr>
        <p:spPr>
          <a:xfrm>
            <a:off x="6019800" y="5357752"/>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Cloud 9">
            <a:extLst>
              <a:ext uri="{FF2B5EF4-FFF2-40B4-BE49-F238E27FC236}">
                <a16:creationId xmlns:a16="http://schemas.microsoft.com/office/drawing/2014/main" id="{B248822B-B4B5-4968-BE76-F9CCBFF3EF29}"/>
              </a:ext>
            </a:extLst>
          </p:cNvPr>
          <p:cNvSpPr/>
          <p:nvPr/>
        </p:nvSpPr>
        <p:spPr>
          <a:xfrm>
            <a:off x="79375" y="4886325"/>
            <a:ext cx="1597025"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Upstream Systems and Inputs:</a:t>
            </a:r>
          </a:p>
          <a:p>
            <a:pPr algn="ctr" fontAlgn="auto">
              <a:spcBef>
                <a:spcPts val="0"/>
              </a:spcBef>
              <a:spcAft>
                <a:spcPts val="0"/>
              </a:spcAft>
              <a:defRPr/>
            </a:pPr>
            <a:r>
              <a:rPr lang="en-US" sz="1200" b="1" dirty="0">
                <a:solidFill>
                  <a:prstClr val="white"/>
                </a:solidFill>
              </a:rPr>
              <a:t>Suppliers &amp; customer orders</a:t>
            </a:r>
          </a:p>
        </p:txBody>
      </p:sp>
      <p:sp>
        <p:nvSpPr>
          <p:cNvPr id="11" name="Cloud 10">
            <a:extLst>
              <a:ext uri="{FF2B5EF4-FFF2-40B4-BE49-F238E27FC236}">
                <a16:creationId xmlns:a16="http://schemas.microsoft.com/office/drawing/2014/main" id="{F9F73316-CB56-4185-991C-03119509D8E3}"/>
              </a:ext>
            </a:extLst>
          </p:cNvPr>
          <p:cNvSpPr/>
          <p:nvPr/>
        </p:nvSpPr>
        <p:spPr>
          <a:xfrm>
            <a:off x="7086600" y="4948238"/>
            <a:ext cx="1828800"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Downstream Systems and Outputs:</a:t>
            </a:r>
          </a:p>
          <a:p>
            <a:pPr algn="ctr" fontAlgn="auto">
              <a:spcBef>
                <a:spcPts val="0"/>
              </a:spcBef>
              <a:spcAft>
                <a:spcPts val="0"/>
              </a:spcAft>
              <a:defRPr/>
            </a:pPr>
            <a:r>
              <a:rPr lang="en-US" sz="1200" b="1" dirty="0">
                <a:solidFill>
                  <a:prstClr val="white"/>
                </a:solidFill>
              </a:rPr>
              <a:t>Orders Fulfilled</a:t>
            </a:r>
          </a:p>
        </p:txBody>
      </p:sp>
      <p:sp>
        <p:nvSpPr>
          <p:cNvPr id="39" name="Oval 38">
            <a:extLst>
              <a:ext uri="{FF2B5EF4-FFF2-40B4-BE49-F238E27FC236}">
                <a16:creationId xmlns:a16="http://schemas.microsoft.com/office/drawing/2014/main" id="{89B5AFD2-24B7-463A-A991-FD59943D6F40}"/>
              </a:ext>
            </a:extLst>
          </p:cNvPr>
          <p:cNvSpPr/>
          <p:nvPr/>
        </p:nvSpPr>
        <p:spPr>
          <a:xfrm>
            <a:off x="66675" y="1698625"/>
            <a:ext cx="2633663" cy="1673225"/>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200" b="1" dirty="0">
                <a:solidFill>
                  <a:prstClr val="white"/>
                </a:solidFill>
              </a:rPr>
              <a:t>Leadership &amp; management team</a:t>
            </a:r>
          </a:p>
          <a:p>
            <a:pPr algn="ctr" fontAlgn="auto">
              <a:spcBef>
                <a:spcPts val="0"/>
              </a:spcBef>
              <a:spcAft>
                <a:spcPts val="0"/>
              </a:spcAft>
              <a:defRPr/>
            </a:pPr>
            <a:endParaRPr lang="en-US" sz="1200" b="1" dirty="0">
              <a:solidFill>
                <a:prstClr val="white"/>
              </a:solidFill>
            </a:endParaRPr>
          </a:p>
          <a:p>
            <a:pPr algn="ctr" fontAlgn="auto">
              <a:spcBef>
                <a:spcPts val="0"/>
              </a:spcBef>
              <a:spcAft>
                <a:spcPts val="0"/>
              </a:spcAft>
              <a:defRPr/>
            </a:pPr>
            <a:r>
              <a:rPr lang="en-US" sz="1200" dirty="0">
                <a:solidFill>
                  <a:prstClr val="white"/>
                </a:solidFill>
              </a:rPr>
              <a:t>(wisdom application, data/facts to information conversion process)</a:t>
            </a:r>
          </a:p>
          <a:p>
            <a:pPr algn="ctr" fontAlgn="auto">
              <a:spcBef>
                <a:spcPts val="0"/>
              </a:spcBef>
              <a:spcAft>
                <a:spcPts val="0"/>
              </a:spcAft>
              <a:defRPr/>
            </a:pPr>
            <a:endParaRPr lang="en-US" sz="1600" dirty="0">
              <a:solidFill>
                <a:prstClr val="white"/>
              </a:solidFill>
            </a:endParaRPr>
          </a:p>
        </p:txBody>
      </p:sp>
      <p:cxnSp>
        <p:nvCxnSpPr>
          <p:cNvPr id="41" name="Straight Arrow Connector 40">
            <a:extLst>
              <a:ext uri="{FF2B5EF4-FFF2-40B4-BE49-F238E27FC236}">
                <a16:creationId xmlns:a16="http://schemas.microsoft.com/office/drawing/2014/main" id="{EE7833D6-17C3-45A9-B47E-B79684DC2B8B}"/>
              </a:ext>
            </a:extLst>
          </p:cNvPr>
          <p:cNvCxnSpPr/>
          <p:nvPr/>
        </p:nvCxnSpPr>
        <p:spPr>
          <a:xfrm>
            <a:off x="1609725" y="3503613"/>
            <a:ext cx="1308100" cy="1406525"/>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68627" name="AutoShape 4" descr="Image result for sheet metal clip art">
            <a:extLst>
              <a:ext uri="{FF2B5EF4-FFF2-40B4-BE49-F238E27FC236}">
                <a16:creationId xmlns:a16="http://schemas.microsoft.com/office/drawing/2014/main" id="{D1F70884-71A7-4970-8B78-63ACFA602C64}"/>
              </a:ext>
            </a:extLst>
          </p:cNvPr>
          <p:cNvSpPr>
            <a:spLocks noChangeAspect="1" noChangeArrowheads="1"/>
          </p:cNvSpPr>
          <p:nvPr/>
        </p:nvSpPr>
        <p:spPr bwMode="auto">
          <a:xfrm>
            <a:off x="307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solidFill>
                <a:srgbClr val="000000"/>
              </a:solidFill>
            </a:endParaRPr>
          </a:p>
        </p:txBody>
      </p:sp>
      <p:sp>
        <p:nvSpPr>
          <p:cNvPr id="31" name="Explosion 1 30">
            <a:extLst>
              <a:ext uri="{FF2B5EF4-FFF2-40B4-BE49-F238E27FC236}">
                <a16:creationId xmlns:a16="http://schemas.microsoft.com/office/drawing/2014/main" id="{9A8B9EA3-F8E1-4010-BDD7-B509149F0D8B}"/>
              </a:ext>
            </a:extLst>
          </p:cNvPr>
          <p:cNvSpPr/>
          <p:nvPr/>
        </p:nvSpPr>
        <p:spPr>
          <a:xfrm>
            <a:off x="501650" y="3449638"/>
            <a:ext cx="1325563" cy="949325"/>
          </a:xfrm>
          <a:prstGeom prst="irregularSeal1">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080000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Decisions</a:t>
            </a:r>
          </a:p>
        </p:txBody>
      </p:sp>
      <p:sp>
        <p:nvSpPr>
          <p:cNvPr id="32" name="Explosion 1 31">
            <a:extLst>
              <a:ext uri="{FF2B5EF4-FFF2-40B4-BE49-F238E27FC236}">
                <a16:creationId xmlns:a16="http://schemas.microsoft.com/office/drawing/2014/main" id="{96CC856B-486B-4F24-8F23-CA9FC6162F9C}"/>
              </a:ext>
            </a:extLst>
          </p:cNvPr>
          <p:cNvSpPr/>
          <p:nvPr/>
        </p:nvSpPr>
        <p:spPr>
          <a:xfrm>
            <a:off x="2165350" y="3589338"/>
            <a:ext cx="1325563" cy="947737"/>
          </a:xfrm>
          <a:prstGeom prst="irregularSeal1">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Actions</a:t>
            </a:r>
          </a:p>
        </p:txBody>
      </p:sp>
      <p:pic>
        <p:nvPicPr>
          <p:cNvPr id="68633" name="Picture 27" descr="Image result for value stream map simple images">
            <a:extLst>
              <a:ext uri="{FF2B5EF4-FFF2-40B4-BE49-F238E27FC236}">
                <a16:creationId xmlns:a16="http://schemas.microsoft.com/office/drawing/2014/main" id="{1031AA4C-A6FD-4C7C-A144-B6C83431A0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321" t="14018" r="6564" b="7230"/>
          <a:stretch>
            <a:fillRect/>
          </a:stretch>
        </p:blipFill>
        <p:spPr bwMode="auto">
          <a:xfrm>
            <a:off x="2827338" y="6062663"/>
            <a:ext cx="3005137"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091E8D24-BAFC-4024-B299-7304F3093BD0}"/>
              </a:ext>
            </a:extLst>
          </p:cNvPr>
          <p:cNvSpPr/>
          <p:nvPr/>
        </p:nvSpPr>
        <p:spPr>
          <a:xfrm>
            <a:off x="4038600" y="1600200"/>
            <a:ext cx="4603750" cy="2971800"/>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Who Leads, Manages</a:t>
            </a:r>
          </a:p>
          <a:p>
            <a:pPr algn="ctr"/>
            <a:endParaRPr lang="en-US" sz="1600" dirty="0"/>
          </a:p>
          <a:p>
            <a:pPr algn="ctr"/>
            <a:r>
              <a:rPr lang="en-US" sz="1600" dirty="0"/>
              <a:t>The Decision Maker</a:t>
            </a:r>
          </a:p>
          <a:p>
            <a:pPr algn="ctr"/>
            <a:r>
              <a:rPr lang="en-US" sz="1600" dirty="0"/>
              <a:t>The Team of people accountable for the ‘system’ being managed</a:t>
            </a:r>
          </a:p>
          <a:p>
            <a:pPr algn="ctr"/>
            <a:endParaRPr lang="en-US" sz="1600" dirty="0"/>
          </a:p>
          <a:p>
            <a:pPr algn="ctr"/>
            <a:r>
              <a:rPr lang="en-US" sz="1600" dirty="0"/>
              <a:t>What are their needs and requirements?</a:t>
            </a:r>
          </a:p>
          <a:p>
            <a:pPr algn="ctr"/>
            <a:r>
              <a:rPr lang="en-US" sz="1600" dirty="0"/>
              <a:t>What’s their Strategy and Plan and how does this initiative fit?</a:t>
            </a:r>
          </a:p>
          <a:p>
            <a:pPr algn="ctr"/>
            <a:endParaRPr lang="en-US" sz="1600" dirty="0"/>
          </a:p>
        </p:txBody>
      </p:sp>
      <p:cxnSp>
        <p:nvCxnSpPr>
          <p:cNvPr id="4" name="Straight Arrow Connector 3">
            <a:extLst>
              <a:ext uri="{FF2B5EF4-FFF2-40B4-BE49-F238E27FC236}">
                <a16:creationId xmlns:a16="http://schemas.microsoft.com/office/drawing/2014/main" id="{46A156D2-3375-C52C-B00B-31F5D40A89E0}"/>
              </a:ext>
            </a:extLst>
          </p:cNvPr>
          <p:cNvCxnSpPr>
            <a:stCxn id="2" idx="1"/>
            <a:endCxn id="39" idx="6"/>
          </p:cNvCxnSpPr>
          <p:nvPr/>
        </p:nvCxnSpPr>
        <p:spPr>
          <a:xfrm flipH="1" flipV="1">
            <a:off x="2700338" y="2535238"/>
            <a:ext cx="1338262" cy="550862"/>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0140792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0"/>
                                        </p:tgtEl>
                                        <p:attrNameLst>
                                          <p:attrName>style.visibility</p:attrName>
                                        </p:attrNameLst>
                                      </p:cBhvr>
                                      <p:to>
                                        <p:strVal val="visible"/>
                                      </p:to>
                                    </p:set>
                                  </p:childTnLst>
                                </p:cTn>
                              </p:par>
                            </p:childTnLst>
                          </p:cTn>
                        </p:par>
                        <p:par>
                          <p:cTn id="7" fill="hold" nodeType="afterGroup">
                            <p:stCondLst>
                              <p:cond delay="500"/>
                            </p:stCondLst>
                            <p:childTnLst>
                              <p:par>
                                <p:cTn id="8" presetID="1" presetClass="entr" presetSubtype="0" fill="hold" grpId="0" nodeType="afterEffect">
                                  <p:stCondLst>
                                    <p:cond delay="0"/>
                                  </p:stCondLst>
                                  <p:childTnLst>
                                    <p:set>
                                      <p:cBhvr>
                                        <p:cTn id="9" dur="1" fill="hold">
                                          <p:stCondLst>
                                            <p:cond delay="499"/>
                                          </p:stCondLst>
                                        </p:cTn>
                                        <p:tgtEl>
                                          <p:spTgt spid="8"/>
                                        </p:tgtEl>
                                        <p:attrNameLst>
                                          <p:attrName>style.visibility</p:attrName>
                                        </p:attrNameLst>
                                      </p:cBhvr>
                                      <p:to>
                                        <p:strVal val="visible"/>
                                      </p:to>
                                    </p:set>
                                  </p:childTnLst>
                                </p:cTn>
                              </p:par>
                            </p:childTnLst>
                          </p:cTn>
                        </p:par>
                        <p:par>
                          <p:cTn id="10" fill="hold" nodeType="afterGroup">
                            <p:stCondLst>
                              <p:cond delay="1000"/>
                            </p:stCondLst>
                            <p:childTnLst>
                              <p:par>
                                <p:cTn id="11" presetID="1" presetClass="entr" presetSubtype="0" fill="hold" grpId="0" nodeType="afterEffect">
                                  <p:stCondLst>
                                    <p:cond delay="0"/>
                                  </p:stCondLst>
                                  <p:childTnLst>
                                    <p:set>
                                      <p:cBhvr>
                                        <p:cTn id="12" dur="1" fill="hold">
                                          <p:stCondLst>
                                            <p:cond delay="499"/>
                                          </p:stCondLst>
                                        </p:cTn>
                                        <p:tgtEl>
                                          <p:spTgt spid="5"/>
                                        </p:tgtEl>
                                        <p:attrNameLst>
                                          <p:attrName>style.visibility</p:attrName>
                                        </p:attrNameLst>
                                      </p:cBhvr>
                                      <p:to>
                                        <p:strVal val="visible"/>
                                      </p:to>
                                    </p:set>
                                  </p:childTnLst>
                                </p:cTn>
                              </p:par>
                            </p:childTnLst>
                          </p:cTn>
                        </p:par>
                        <p:par>
                          <p:cTn id="13" fill="hold" nodeType="afterGroup">
                            <p:stCondLst>
                              <p:cond delay="1500"/>
                            </p:stCondLst>
                            <p:childTnLst>
                              <p:par>
                                <p:cTn id="14" presetID="1" presetClass="entr" presetSubtype="0" fill="hold" nodeType="afterEffect">
                                  <p:stCondLst>
                                    <p:cond delay="0"/>
                                  </p:stCondLst>
                                  <p:childTnLst>
                                    <p:set>
                                      <p:cBhvr>
                                        <p:cTn id="15" dur="1" fill="hold">
                                          <p:stCondLst>
                                            <p:cond delay="499"/>
                                          </p:stCondLst>
                                        </p:cTn>
                                        <p:tgtEl>
                                          <p:spTgt spid="9"/>
                                        </p:tgtEl>
                                        <p:attrNameLst>
                                          <p:attrName>style.visibility</p:attrName>
                                        </p:attrNameLst>
                                      </p:cBhvr>
                                      <p:to>
                                        <p:strVal val="visible"/>
                                      </p:to>
                                    </p:set>
                                  </p:childTnLst>
                                </p:cTn>
                              </p:par>
                            </p:childTnLst>
                          </p:cTn>
                        </p:par>
                        <p:par>
                          <p:cTn id="16" fill="hold" nodeType="afterGroup">
                            <p:stCondLst>
                              <p:cond delay="2000"/>
                            </p:stCondLst>
                            <p:childTnLst>
                              <p:par>
                                <p:cTn id="17" presetID="1" presetClass="entr" presetSubtype="0" fill="hold" grpId="0" nodeType="afterEffect">
                                  <p:stCondLst>
                                    <p:cond delay="0"/>
                                  </p:stCondLst>
                                  <p:childTnLst>
                                    <p:set>
                                      <p:cBhvr>
                                        <p:cTn id="18" dur="1" fill="hold">
                                          <p:stCondLst>
                                            <p:cond delay="499"/>
                                          </p:stCondLst>
                                        </p:cTn>
                                        <p:tgtEl>
                                          <p:spTgt spid="11"/>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39"/>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499"/>
                                          </p:stCondLst>
                                        </p:cTn>
                                        <p:tgtEl>
                                          <p:spTgt spid="31"/>
                                        </p:tgtEl>
                                        <p:attrNameLst>
                                          <p:attrName>style.visibility</p:attrName>
                                        </p:attrNameLst>
                                      </p:cBhvr>
                                      <p:to>
                                        <p:strVal val="visible"/>
                                      </p:to>
                                    </p:set>
                                  </p:childTnLst>
                                </p:cTn>
                              </p:par>
                            </p:childTnLst>
                          </p:cTn>
                        </p:par>
                        <p:par>
                          <p:cTn id="27" fill="hold" nodeType="afterGroup">
                            <p:stCondLst>
                              <p:cond delay="500"/>
                            </p:stCondLst>
                            <p:childTnLst>
                              <p:par>
                                <p:cTn id="28" presetID="1" presetClass="entr" presetSubtype="0" fill="hold" nodeType="afterEffect">
                                  <p:stCondLst>
                                    <p:cond delay="0"/>
                                  </p:stCondLst>
                                  <p:childTnLst>
                                    <p:set>
                                      <p:cBhvr>
                                        <p:cTn id="29" dur="1" fill="hold">
                                          <p:stCondLst>
                                            <p:cond delay="499"/>
                                          </p:stCondLst>
                                        </p:cTn>
                                        <p:tgtEl>
                                          <p:spTgt spid="41"/>
                                        </p:tgtEl>
                                        <p:attrNameLst>
                                          <p:attrName>style.visibility</p:attrName>
                                        </p:attrNameLst>
                                      </p:cBhvr>
                                      <p:to>
                                        <p:strVal val="visible"/>
                                      </p:to>
                                    </p:set>
                                  </p:childTnLst>
                                </p:cTn>
                              </p:par>
                            </p:childTnLst>
                          </p:cTn>
                        </p:par>
                        <p:par>
                          <p:cTn id="30" fill="hold" nodeType="afterGroup">
                            <p:stCondLst>
                              <p:cond delay="1000"/>
                            </p:stCondLst>
                            <p:childTnLst>
                              <p:par>
                                <p:cTn id="31" presetID="1" presetClass="entr" presetSubtype="0" fill="hold" grpId="0" nodeType="afterEffect">
                                  <p:stCondLst>
                                    <p:cond delay="0"/>
                                  </p:stCondLst>
                                  <p:childTnLst>
                                    <p:set>
                                      <p:cBhvr>
                                        <p:cTn id="32" dur="1" fill="hold">
                                          <p:stCondLst>
                                            <p:cond delay="499"/>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autoUpdateAnimBg="0"/>
      <p:bldP spid="8" grpId="0" animBg="1" autoUpdateAnimBg="0"/>
      <p:bldP spid="10" grpId="0" animBg="1" autoUpdateAnimBg="0"/>
      <p:bldP spid="11" grpId="0" animBg="1" autoUpdateAnimBg="0"/>
      <p:bldP spid="39" grpId="0" animBg="1" autoUpdateAnimBg="0"/>
      <p:bldP spid="31" grpId="0" animBg="1" autoUpdateAnimBg="0"/>
      <p:bldP spid="32" grpId="0" animBg="1" autoUpdateAnimBg="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80394-8208-8494-6028-060C7103599C}"/>
              </a:ext>
            </a:extLst>
          </p:cNvPr>
          <p:cNvSpPr>
            <a:spLocks noGrp="1"/>
          </p:cNvSpPr>
          <p:nvPr>
            <p:ph type="title"/>
          </p:nvPr>
        </p:nvSpPr>
        <p:spPr/>
        <p:txBody>
          <a:bodyPr/>
          <a:lstStyle/>
          <a:p>
            <a:r>
              <a:rPr lang="en-US" dirty="0"/>
              <a:t>Need to understand…</a:t>
            </a:r>
          </a:p>
        </p:txBody>
      </p:sp>
      <p:sp>
        <p:nvSpPr>
          <p:cNvPr id="3" name="Content Placeholder 2">
            <a:extLst>
              <a:ext uri="{FF2B5EF4-FFF2-40B4-BE49-F238E27FC236}">
                <a16:creationId xmlns:a16="http://schemas.microsoft.com/office/drawing/2014/main" id="{7CE65C26-1056-993D-321F-8E606ED9340B}"/>
              </a:ext>
            </a:extLst>
          </p:cNvPr>
          <p:cNvSpPr>
            <a:spLocks noGrp="1"/>
          </p:cNvSpPr>
          <p:nvPr>
            <p:ph idx="1"/>
          </p:nvPr>
        </p:nvSpPr>
        <p:spPr/>
        <p:txBody>
          <a:bodyPr/>
          <a:lstStyle/>
          <a:p>
            <a:r>
              <a:rPr lang="en-US" sz="1800" dirty="0"/>
              <a:t>Who are the key players</a:t>
            </a:r>
          </a:p>
          <a:p>
            <a:pPr lvl="1"/>
            <a:r>
              <a:rPr lang="en-US" sz="1600" dirty="0"/>
              <a:t>Executive Sponsors</a:t>
            </a:r>
          </a:p>
          <a:p>
            <a:pPr lvl="1"/>
            <a:r>
              <a:rPr lang="en-US" sz="1600" dirty="0"/>
              <a:t>Value Stream Owner</a:t>
            </a:r>
          </a:p>
          <a:p>
            <a:pPr lvl="1"/>
            <a:r>
              <a:rPr lang="en-US" sz="1600" dirty="0"/>
              <a:t>Process Owners</a:t>
            </a:r>
          </a:p>
          <a:p>
            <a:r>
              <a:rPr lang="en-US" sz="1800" dirty="0"/>
              <a:t>What are the R2A2s (roles, responsibilities, accountabilities, authorities)?</a:t>
            </a:r>
          </a:p>
          <a:p>
            <a:r>
              <a:rPr lang="en-US" sz="1800" dirty="0"/>
              <a:t>What are the ‘teams’ and individuals on the ‘team’ information requirements (what they need/want to know, how they prefer to see ‘information’).</a:t>
            </a:r>
          </a:p>
          <a:p>
            <a:pPr lvl="1"/>
            <a:r>
              <a:rPr lang="en-US" sz="1600" dirty="0"/>
              <a:t>What’s holding them back from making more timely, better adjustments that will improve performance, continue to drive system and process, value streams towards more optimal levels of performance.</a:t>
            </a:r>
          </a:p>
          <a:p>
            <a:pPr lvl="1"/>
            <a:r>
              <a:rPr lang="en-US" sz="1600" dirty="0"/>
              <a:t>What would they like to know that they don’t know, what questions would they like to have answered better, easier, faster?</a:t>
            </a:r>
          </a:p>
          <a:p>
            <a:pPr lvl="1"/>
            <a:r>
              <a:rPr lang="en-US" sz="1600" dirty="0"/>
              <a:t>What they articulate, are conscious about AND also what you, as an ISE know they need to know to optimize flow, performance, reduce waste, etc.  Benchmarking can help!!!  </a:t>
            </a:r>
          </a:p>
          <a:p>
            <a:r>
              <a:rPr lang="en-US" sz="2000" dirty="0"/>
              <a:t>What’s the ‘strategy’, what is the future state and what’s the migration plan and then how do we measure what matters!!!</a:t>
            </a:r>
          </a:p>
        </p:txBody>
      </p:sp>
    </p:spTree>
    <p:extLst>
      <p:ext uri="{BB962C8B-B14F-4D97-AF65-F5344CB8AC3E}">
        <p14:creationId xmlns:p14="http://schemas.microsoft.com/office/powerpoint/2010/main" val="25143277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6664E-48AC-4EC7-B938-D31E570F7EB5}"/>
              </a:ext>
            </a:extLst>
          </p:cNvPr>
          <p:cNvSpPr>
            <a:spLocks noGrp="1"/>
          </p:cNvSpPr>
          <p:nvPr>
            <p:ph type="title"/>
          </p:nvPr>
        </p:nvSpPr>
        <p:spPr/>
        <p:txBody>
          <a:bodyPr/>
          <a:lstStyle/>
          <a:p>
            <a:r>
              <a:rPr lang="en-US" dirty="0"/>
              <a:t>Lots of versions of Balance Scorecard</a:t>
            </a:r>
          </a:p>
        </p:txBody>
      </p:sp>
      <p:pic>
        <p:nvPicPr>
          <p:cNvPr id="5" name="Content Placeholder 4" descr="Diagram, timeline&#10;&#10;Description automatically generated">
            <a:extLst>
              <a:ext uri="{FF2B5EF4-FFF2-40B4-BE49-F238E27FC236}">
                <a16:creationId xmlns:a16="http://schemas.microsoft.com/office/drawing/2014/main" id="{82681B15-219F-4CBD-80B7-01EC6202C201}"/>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tretch/>
        </p:blipFill>
        <p:spPr>
          <a:xfrm>
            <a:off x="1600200" y="1042987"/>
            <a:ext cx="5400675" cy="2943225"/>
          </a:xfrm>
        </p:spPr>
      </p:pic>
      <p:pic>
        <p:nvPicPr>
          <p:cNvPr id="1026" name="Picture 2" descr="DuPont analysis - Wikipedia">
            <a:extLst>
              <a:ext uri="{FF2B5EF4-FFF2-40B4-BE49-F238E27FC236}">
                <a16:creationId xmlns:a16="http://schemas.microsoft.com/office/drawing/2014/main" id="{D8706658-0295-46C1-973F-E6F2BC5FE2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811" y="4038600"/>
            <a:ext cx="3890481" cy="24384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Diagram, text, whiteboard&#10;&#10;Description automatically generated">
            <a:extLst>
              <a:ext uri="{FF2B5EF4-FFF2-40B4-BE49-F238E27FC236}">
                <a16:creationId xmlns:a16="http://schemas.microsoft.com/office/drawing/2014/main" id="{168E3AB8-F01B-4BAA-8BD0-09B0F5F65C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7800" y="4429125"/>
            <a:ext cx="2762250" cy="1657350"/>
          </a:xfrm>
          <a:prstGeom prst="rect">
            <a:avLst/>
          </a:prstGeom>
        </p:spPr>
      </p:pic>
    </p:spTree>
    <p:extLst>
      <p:ext uri="{BB962C8B-B14F-4D97-AF65-F5344CB8AC3E}">
        <p14:creationId xmlns:p14="http://schemas.microsoft.com/office/powerpoint/2010/main" val="22528236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C1C4B-9B45-9F7F-7CC7-F40B273F38EF}"/>
              </a:ext>
            </a:extLst>
          </p:cNvPr>
          <p:cNvSpPr>
            <a:spLocks noGrp="1"/>
          </p:cNvSpPr>
          <p:nvPr>
            <p:ph type="title"/>
          </p:nvPr>
        </p:nvSpPr>
        <p:spPr>
          <a:xfrm>
            <a:off x="478766" y="152400"/>
            <a:ext cx="8000973" cy="944562"/>
          </a:xfrm>
        </p:spPr>
        <p:txBody>
          <a:bodyPr/>
          <a:lstStyle/>
          <a:p>
            <a:r>
              <a:rPr lang="en-US" sz="3600" dirty="0"/>
              <a:t>Another tact on ‘Balanced Scorecards’ (Instrument Panel in Cockpit)</a:t>
            </a:r>
          </a:p>
        </p:txBody>
      </p:sp>
      <p:sp>
        <p:nvSpPr>
          <p:cNvPr id="4" name="Flowchart: Delay 3">
            <a:extLst>
              <a:ext uri="{FF2B5EF4-FFF2-40B4-BE49-F238E27FC236}">
                <a16:creationId xmlns:a16="http://schemas.microsoft.com/office/drawing/2014/main" id="{485F5316-08B8-8EFF-F36D-A57C3DBBE398}"/>
              </a:ext>
            </a:extLst>
          </p:cNvPr>
          <p:cNvSpPr/>
          <p:nvPr/>
        </p:nvSpPr>
        <p:spPr>
          <a:xfrm rot="16200000">
            <a:off x="2552700" y="304800"/>
            <a:ext cx="4038600" cy="8153400"/>
          </a:xfrm>
          <a:prstGeom prst="flowChartDelay">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33DB4E3F-E37E-9790-9ACE-806BF253F4E1}"/>
              </a:ext>
            </a:extLst>
          </p:cNvPr>
          <p:cNvSpPr/>
          <p:nvPr/>
        </p:nvSpPr>
        <p:spPr>
          <a:xfrm>
            <a:off x="381000" y="1491651"/>
            <a:ext cx="2286000" cy="914400"/>
          </a:xfrm>
          <a:prstGeom prst="round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162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HUD:  Effectiveness—what are the right things to DO</a:t>
            </a:r>
          </a:p>
          <a:p>
            <a:pPr algn="ctr"/>
            <a:r>
              <a:rPr lang="en-US" dirty="0"/>
              <a:t>(Start’s &amp; Stop’s)</a:t>
            </a:r>
          </a:p>
        </p:txBody>
      </p:sp>
      <p:sp>
        <p:nvSpPr>
          <p:cNvPr id="6" name="Rectangle: Rounded Corners 5">
            <a:extLst>
              <a:ext uri="{FF2B5EF4-FFF2-40B4-BE49-F238E27FC236}">
                <a16:creationId xmlns:a16="http://schemas.microsoft.com/office/drawing/2014/main" id="{3CA71570-6B1E-E585-4771-D466FFB3B7E5}"/>
              </a:ext>
            </a:extLst>
          </p:cNvPr>
          <p:cNvSpPr/>
          <p:nvPr/>
        </p:nvSpPr>
        <p:spPr>
          <a:xfrm>
            <a:off x="6705600" y="1459269"/>
            <a:ext cx="2286000" cy="914400"/>
          </a:xfrm>
          <a:prstGeom prst="roundRect">
            <a:avLst/>
          </a:prstGeom>
          <a:solidFill>
            <a:schemeClr val="accent3">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HUD:  Effectiveness—What are the right things to DO</a:t>
            </a:r>
          </a:p>
          <a:p>
            <a:pPr algn="ctr"/>
            <a:r>
              <a:rPr lang="en-US" dirty="0"/>
              <a:t>(Continues)</a:t>
            </a:r>
          </a:p>
        </p:txBody>
      </p:sp>
      <p:sp>
        <p:nvSpPr>
          <p:cNvPr id="7" name="Rectangle: Rounded Corners 6">
            <a:extLst>
              <a:ext uri="{FF2B5EF4-FFF2-40B4-BE49-F238E27FC236}">
                <a16:creationId xmlns:a16="http://schemas.microsoft.com/office/drawing/2014/main" id="{DD5BFD8B-1A77-84AF-9F16-21772F5973B0}"/>
              </a:ext>
            </a:extLst>
          </p:cNvPr>
          <p:cNvSpPr/>
          <p:nvPr/>
        </p:nvSpPr>
        <p:spPr>
          <a:xfrm>
            <a:off x="3336252" y="3276600"/>
            <a:ext cx="2286000" cy="621118"/>
          </a:xfrm>
          <a:prstGeom prst="roundRect">
            <a:avLst/>
          </a:prstGeom>
          <a:gradFill flip="none" rotWithShape="1">
            <a:gsLst>
              <a:gs pos="0">
                <a:srgbClr val="008000">
                  <a:shade val="30000"/>
                  <a:satMod val="115000"/>
                </a:srgbClr>
              </a:gs>
              <a:gs pos="50000">
                <a:srgbClr val="008000">
                  <a:shade val="67500"/>
                  <a:satMod val="115000"/>
                </a:srgbClr>
              </a:gs>
              <a:gs pos="100000">
                <a:srgbClr val="008000">
                  <a:shade val="100000"/>
                  <a:satMod val="115000"/>
                </a:srgbClr>
              </a:gs>
            </a:gsLst>
            <a:lin ang="81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ank 1:   Profitability/</a:t>
            </a:r>
            <a:r>
              <a:rPr lang="en-US" dirty="0" err="1"/>
              <a:t>Budgetability</a:t>
            </a:r>
            <a:endParaRPr lang="en-US" dirty="0"/>
          </a:p>
        </p:txBody>
      </p:sp>
      <p:sp>
        <p:nvSpPr>
          <p:cNvPr id="8" name="Rectangle: Rounded Corners 7">
            <a:extLst>
              <a:ext uri="{FF2B5EF4-FFF2-40B4-BE49-F238E27FC236}">
                <a16:creationId xmlns:a16="http://schemas.microsoft.com/office/drawing/2014/main" id="{3D777DA8-4ED9-F60B-801A-2C4602162F24}"/>
              </a:ext>
            </a:extLst>
          </p:cNvPr>
          <p:cNvSpPr/>
          <p:nvPr/>
        </p:nvSpPr>
        <p:spPr>
          <a:xfrm>
            <a:off x="3336252" y="4038608"/>
            <a:ext cx="2286000" cy="914400"/>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ank 2:</a:t>
            </a:r>
          </a:p>
          <a:p>
            <a:pPr algn="ctr"/>
            <a:r>
              <a:rPr lang="en-US" dirty="0"/>
              <a:t>Efficiency—Resource Utilization, Optimization</a:t>
            </a:r>
          </a:p>
        </p:txBody>
      </p:sp>
      <p:sp>
        <p:nvSpPr>
          <p:cNvPr id="9" name="Rectangle: Rounded Corners 8">
            <a:extLst>
              <a:ext uri="{FF2B5EF4-FFF2-40B4-BE49-F238E27FC236}">
                <a16:creationId xmlns:a16="http://schemas.microsoft.com/office/drawing/2014/main" id="{4B5D45A9-EB7D-B62E-C46E-F31D365FD796}"/>
              </a:ext>
            </a:extLst>
          </p:cNvPr>
          <p:cNvSpPr/>
          <p:nvPr/>
        </p:nvSpPr>
        <p:spPr>
          <a:xfrm>
            <a:off x="789324" y="3687762"/>
            <a:ext cx="2286000" cy="914400"/>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ank 3:</a:t>
            </a:r>
          </a:p>
          <a:p>
            <a:pPr algn="ctr"/>
            <a:r>
              <a:rPr lang="en-US" dirty="0"/>
              <a:t>Innovation Lever—Rate of Improvement</a:t>
            </a:r>
          </a:p>
        </p:txBody>
      </p:sp>
      <p:sp>
        <p:nvSpPr>
          <p:cNvPr id="10" name="Rectangle: Rounded Corners 9">
            <a:extLst>
              <a:ext uri="{FF2B5EF4-FFF2-40B4-BE49-F238E27FC236}">
                <a16:creationId xmlns:a16="http://schemas.microsoft.com/office/drawing/2014/main" id="{1B03DC4D-1046-34EE-FDE0-100D01B67958}"/>
              </a:ext>
            </a:extLst>
          </p:cNvPr>
          <p:cNvSpPr/>
          <p:nvPr/>
        </p:nvSpPr>
        <p:spPr>
          <a:xfrm>
            <a:off x="1143000" y="5680481"/>
            <a:ext cx="6705600" cy="644118"/>
          </a:xfrm>
          <a:prstGeom prst="roundRect">
            <a:avLst/>
          </a:prstGeom>
          <a:gradFill flip="none" rotWithShape="1">
            <a:gsLst>
              <a:gs pos="0">
                <a:schemeClr val="accent4">
                  <a:lumMod val="75000"/>
                  <a:shade val="30000"/>
                  <a:satMod val="115000"/>
                </a:schemeClr>
              </a:gs>
              <a:gs pos="50000">
                <a:schemeClr val="accent4">
                  <a:lumMod val="75000"/>
                  <a:shade val="67500"/>
                  <a:satMod val="115000"/>
                </a:schemeClr>
              </a:gs>
              <a:gs pos="100000">
                <a:schemeClr val="accent4">
                  <a:lumMod val="75000"/>
                  <a:shade val="100000"/>
                  <a:satMod val="115000"/>
                </a:schemeClr>
              </a:gs>
            </a:gsLst>
            <a:lin ang="54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t>Bank 4:</a:t>
            </a:r>
          </a:p>
          <a:p>
            <a:pPr algn="ctr"/>
            <a:r>
              <a:rPr lang="en-US" sz="1800" dirty="0"/>
              <a:t>Quality of Work Life/Culture</a:t>
            </a:r>
          </a:p>
        </p:txBody>
      </p:sp>
      <p:sp>
        <p:nvSpPr>
          <p:cNvPr id="11" name="Rectangle: Rounded Corners 10">
            <a:extLst>
              <a:ext uri="{FF2B5EF4-FFF2-40B4-BE49-F238E27FC236}">
                <a16:creationId xmlns:a16="http://schemas.microsoft.com/office/drawing/2014/main" id="{B848FBAB-E539-FDBA-F381-5614B7D9B0E4}"/>
              </a:ext>
            </a:extLst>
          </p:cNvPr>
          <p:cNvSpPr/>
          <p:nvPr/>
        </p:nvSpPr>
        <p:spPr>
          <a:xfrm>
            <a:off x="5992476" y="3600113"/>
            <a:ext cx="2286000" cy="914400"/>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ank 4:</a:t>
            </a:r>
          </a:p>
          <a:p>
            <a:pPr algn="ctr"/>
            <a:r>
              <a:rPr lang="en-US" dirty="0"/>
              <a:t>Productivity</a:t>
            </a:r>
          </a:p>
        </p:txBody>
      </p:sp>
      <p:sp>
        <p:nvSpPr>
          <p:cNvPr id="12" name="Rectangle: Rounded Corners 11">
            <a:extLst>
              <a:ext uri="{FF2B5EF4-FFF2-40B4-BE49-F238E27FC236}">
                <a16:creationId xmlns:a16="http://schemas.microsoft.com/office/drawing/2014/main" id="{00ED43EC-03E5-F901-3884-06B9F131636A}"/>
              </a:ext>
            </a:extLst>
          </p:cNvPr>
          <p:cNvSpPr/>
          <p:nvPr/>
        </p:nvSpPr>
        <p:spPr>
          <a:xfrm>
            <a:off x="3336252" y="2550505"/>
            <a:ext cx="2286000" cy="621118"/>
          </a:xfrm>
          <a:prstGeom prst="roundRect">
            <a:avLst/>
          </a:prstGeom>
          <a:gradFill flip="none" rotWithShape="1">
            <a:gsLst>
              <a:gs pos="0">
                <a:srgbClr val="008000">
                  <a:shade val="30000"/>
                  <a:satMod val="115000"/>
                </a:srgbClr>
              </a:gs>
              <a:gs pos="50000">
                <a:srgbClr val="008000">
                  <a:shade val="67500"/>
                  <a:satMod val="115000"/>
                </a:srgbClr>
              </a:gs>
              <a:gs pos="100000">
                <a:srgbClr val="008000">
                  <a:shade val="100000"/>
                  <a:satMod val="115000"/>
                </a:srgbClr>
              </a:gs>
            </a:gsLst>
            <a:lin ang="81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ank 0:   Enterprise Value</a:t>
            </a:r>
          </a:p>
        </p:txBody>
      </p:sp>
      <p:sp>
        <p:nvSpPr>
          <p:cNvPr id="13" name="Rectangle: Rounded Corners 12">
            <a:extLst>
              <a:ext uri="{FF2B5EF4-FFF2-40B4-BE49-F238E27FC236}">
                <a16:creationId xmlns:a16="http://schemas.microsoft.com/office/drawing/2014/main" id="{FF7A4EB0-85E2-662A-E903-EDF477898837}"/>
              </a:ext>
            </a:extLst>
          </p:cNvPr>
          <p:cNvSpPr/>
          <p:nvPr/>
        </p:nvSpPr>
        <p:spPr>
          <a:xfrm>
            <a:off x="838200" y="5070864"/>
            <a:ext cx="1094124" cy="544918"/>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ank 5:</a:t>
            </a:r>
          </a:p>
          <a:p>
            <a:pPr algn="ctr"/>
            <a:r>
              <a:rPr lang="en-US" dirty="0"/>
              <a:t>Quality</a:t>
            </a:r>
            <a:r>
              <a:rPr lang="en-US" baseline="-25000" dirty="0"/>
              <a:t>1</a:t>
            </a:r>
          </a:p>
        </p:txBody>
      </p:sp>
      <p:sp>
        <p:nvSpPr>
          <p:cNvPr id="14" name="Rectangle: Rounded Corners 13">
            <a:extLst>
              <a:ext uri="{FF2B5EF4-FFF2-40B4-BE49-F238E27FC236}">
                <a16:creationId xmlns:a16="http://schemas.microsoft.com/office/drawing/2014/main" id="{D13418A5-7384-9AC3-7708-199758713B5B}"/>
              </a:ext>
            </a:extLst>
          </p:cNvPr>
          <p:cNvSpPr/>
          <p:nvPr/>
        </p:nvSpPr>
        <p:spPr>
          <a:xfrm>
            <a:off x="2242128" y="5070137"/>
            <a:ext cx="1094124" cy="544918"/>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ank 5:</a:t>
            </a:r>
          </a:p>
          <a:p>
            <a:pPr algn="ctr"/>
            <a:r>
              <a:rPr lang="en-US" dirty="0"/>
              <a:t>Quality</a:t>
            </a:r>
            <a:r>
              <a:rPr lang="en-US" baseline="-25000" dirty="0"/>
              <a:t>2</a:t>
            </a:r>
          </a:p>
        </p:txBody>
      </p:sp>
      <p:sp>
        <p:nvSpPr>
          <p:cNvPr id="15" name="Rectangle: Rounded Corners 14">
            <a:extLst>
              <a:ext uri="{FF2B5EF4-FFF2-40B4-BE49-F238E27FC236}">
                <a16:creationId xmlns:a16="http://schemas.microsoft.com/office/drawing/2014/main" id="{E7C439FC-F268-8558-204A-0B4B15BBB394}"/>
              </a:ext>
            </a:extLst>
          </p:cNvPr>
          <p:cNvSpPr/>
          <p:nvPr/>
        </p:nvSpPr>
        <p:spPr>
          <a:xfrm>
            <a:off x="3886200" y="5093899"/>
            <a:ext cx="1094124" cy="544918"/>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ank 5:</a:t>
            </a:r>
          </a:p>
          <a:p>
            <a:pPr algn="ctr"/>
            <a:r>
              <a:rPr lang="en-US" dirty="0"/>
              <a:t>Quality</a:t>
            </a:r>
            <a:r>
              <a:rPr lang="en-US" baseline="-25000" dirty="0"/>
              <a:t>3</a:t>
            </a:r>
          </a:p>
        </p:txBody>
      </p:sp>
      <p:sp>
        <p:nvSpPr>
          <p:cNvPr id="16" name="Rectangle: Rounded Corners 15">
            <a:extLst>
              <a:ext uri="{FF2B5EF4-FFF2-40B4-BE49-F238E27FC236}">
                <a16:creationId xmlns:a16="http://schemas.microsoft.com/office/drawing/2014/main" id="{E330B9F3-259D-E1D7-4378-1F9B3077C908}"/>
              </a:ext>
            </a:extLst>
          </p:cNvPr>
          <p:cNvSpPr/>
          <p:nvPr/>
        </p:nvSpPr>
        <p:spPr>
          <a:xfrm>
            <a:off x="5303802" y="5075919"/>
            <a:ext cx="1094124" cy="544918"/>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ank 5:</a:t>
            </a:r>
          </a:p>
          <a:p>
            <a:pPr algn="ctr"/>
            <a:r>
              <a:rPr lang="en-US" dirty="0"/>
              <a:t>Quality</a:t>
            </a:r>
            <a:r>
              <a:rPr lang="en-US" baseline="-25000" dirty="0"/>
              <a:t>4</a:t>
            </a:r>
          </a:p>
        </p:txBody>
      </p:sp>
      <p:sp>
        <p:nvSpPr>
          <p:cNvPr id="17" name="Rectangle: Rounded Corners 16">
            <a:extLst>
              <a:ext uri="{FF2B5EF4-FFF2-40B4-BE49-F238E27FC236}">
                <a16:creationId xmlns:a16="http://schemas.microsoft.com/office/drawing/2014/main" id="{6A54E594-056F-B7C5-2AC2-818A1558E5B8}"/>
              </a:ext>
            </a:extLst>
          </p:cNvPr>
          <p:cNvSpPr/>
          <p:nvPr/>
        </p:nvSpPr>
        <p:spPr>
          <a:xfrm>
            <a:off x="6901872" y="5093899"/>
            <a:ext cx="1094124" cy="544918"/>
          </a:xfrm>
          <a:prstGeom prst="roundRect">
            <a:avLst/>
          </a:prstGeom>
          <a:solidFill>
            <a:schemeClr val="tx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ank 5:</a:t>
            </a:r>
          </a:p>
          <a:p>
            <a:pPr algn="ctr"/>
            <a:r>
              <a:rPr lang="en-US" dirty="0"/>
              <a:t>Quality</a:t>
            </a:r>
            <a:r>
              <a:rPr lang="en-US" baseline="-25000" dirty="0"/>
              <a:t>5</a:t>
            </a:r>
          </a:p>
        </p:txBody>
      </p:sp>
      <p:sp>
        <p:nvSpPr>
          <p:cNvPr id="18" name="Rectangle: Rounded Corners 17">
            <a:extLst>
              <a:ext uri="{FF2B5EF4-FFF2-40B4-BE49-F238E27FC236}">
                <a16:creationId xmlns:a16="http://schemas.microsoft.com/office/drawing/2014/main" id="{A872337B-6819-51D1-C254-672FF06CFB36}"/>
              </a:ext>
            </a:extLst>
          </p:cNvPr>
          <p:cNvSpPr/>
          <p:nvPr/>
        </p:nvSpPr>
        <p:spPr>
          <a:xfrm>
            <a:off x="3428999" y="1401080"/>
            <a:ext cx="2286000" cy="914400"/>
          </a:xfrm>
          <a:prstGeom prst="roundRect">
            <a:avLst/>
          </a:prstGeom>
          <a:gradFill flip="none" rotWithShape="1">
            <a:gsLst>
              <a:gs pos="0">
                <a:srgbClr val="E47F00">
                  <a:shade val="30000"/>
                  <a:satMod val="115000"/>
                </a:srgbClr>
              </a:gs>
              <a:gs pos="50000">
                <a:srgbClr val="E47F00">
                  <a:shade val="67500"/>
                  <a:satMod val="115000"/>
                </a:srgbClr>
              </a:gs>
              <a:gs pos="100000">
                <a:srgbClr val="E47F00">
                  <a:shade val="100000"/>
                  <a:satMod val="115000"/>
                </a:srgbClr>
              </a:gs>
            </a:gsLst>
            <a:lin ang="54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Our Future State Vision</a:t>
            </a:r>
          </a:p>
        </p:txBody>
      </p:sp>
    </p:spTree>
    <p:extLst>
      <p:ext uri="{BB962C8B-B14F-4D97-AF65-F5344CB8AC3E}">
        <p14:creationId xmlns:p14="http://schemas.microsoft.com/office/powerpoint/2010/main" val="896798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B7EB2-A212-FCF7-119B-97BE26ED2D21}"/>
              </a:ext>
            </a:extLst>
          </p:cNvPr>
          <p:cNvSpPr>
            <a:spLocks noGrp="1"/>
          </p:cNvSpPr>
          <p:nvPr>
            <p:ph type="title"/>
          </p:nvPr>
        </p:nvSpPr>
        <p:spPr/>
        <p:txBody>
          <a:bodyPr/>
          <a:lstStyle/>
          <a:p>
            <a:r>
              <a:rPr lang="en-US" dirty="0"/>
              <a:t>Data and Experience Foundation</a:t>
            </a:r>
          </a:p>
        </p:txBody>
      </p:sp>
      <p:sp>
        <p:nvSpPr>
          <p:cNvPr id="3" name="Content Placeholder 2">
            <a:extLst>
              <a:ext uri="{FF2B5EF4-FFF2-40B4-BE49-F238E27FC236}">
                <a16:creationId xmlns:a16="http://schemas.microsoft.com/office/drawing/2014/main" id="{9068D7F9-6821-85F2-E3CB-6EC90C75AD30}"/>
              </a:ext>
            </a:extLst>
          </p:cNvPr>
          <p:cNvSpPr>
            <a:spLocks noGrp="1"/>
          </p:cNvSpPr>
          <p:nvPr>
            <p:ph idx="1"/>
          </p:nvPr>
        </p:nvSpPr>
        <p:spPr>
          <a:xfrm>
            <a:off x="381000" y="1295400"/>
            <a:ext cx="8229600" cy="4525963"/>
          </a:xfrm>
        </p:spPr>
        <p:txBody>
          <a:bodyPr/>
          <a:lstStyle/>
          <a:p>
            <a:r>
              <a:rPr lang="en-US" dirty="0"/>
              <a:t>First book written, </a:t>
            </a:r>
            <a:r>
              <a:rPr lang="en-US" i="1" dirty="0"/>
              <a:t>“Productivity Management:  Planning, Measurement and Evaluation, Control and Improvement” </a:t>
            </a:r>
            <a:r>
              <a:rPr lang="en-US" dirty="0"/>
              <a:t>John Wiley, 1985 </a:t>
            </a:r>
          </a:p>
          <a:p>
            <a:pPr lvl="1"/>
            <a:r>
              <a:rPr lang="en-US" dirty="0"/>
              <a:t>Based on Dissertation and Consulting and Research completed 1976-1985</a:t>
            </a:r>
          </a:p>
          <a:p>
            <a:pPr lvl="1"/>
            <a:endParaRPr lang="en-US" dirty="0"/>
          </a:p>
          <a:p>
            <a:r>
              <a:rPr lang="en-US" dirty="0"/>
              <a:t>Teaching ‘Performance Measurement, Management Systems Engineering, Integrated </a:t>
            </a:r>
            <a:r>
              <a:rPr lang="en-US" dirty="0" err="1"/>
              <a:t>LeanSigma</a:t>
            </a:r>
            <a:r>
              <a:rPr lang="en-US" dirty="0"/>
              <a:t>, Operational Analytics 1978-1997 and then 2007-2020. (Ok State, </a:t>
            </a:r>
            <a:r>
              <a:rPr lang="en-US" dirty="0" err="1"/>
              <a:t>Va</a:t>
            </a:r>
            <a:r>
              <a:rPr lang="en-US" dirty="0"/>
              <a:t> Tech, Ohio State)</a:t>
            </a:r>
          </a:p>
          <a:p>
            <a:endParaRPr lang="en-US" dirty="0"/>
          </a:p>
          <a:p>
            <a:r>
              <a:rPr lang="en-US" dirty="0"/>
              <a:t>VP Business Process Improvement 2000-2007, leading Op Ex.</a:t>
            </a:r>
          </a:p>
          <a:p>
            <a:endParaRPr lang="en-US" dirty="0"/>
          </a:p>
          <a:p>
            <a:r>
              <a:rPr lang="en-US" dirty="0"/>
              <a:t>Practicing—directed, coached over 250 business process improvement projects from 2007-2020 in wide spectrum of industries and for wide range of types of performance problems.  </a:t>
            </a:r>
          </a:p>
          <a:p>
            <a:endParaRPr lang="en-US" dirty="0"/>
          </a:p>
          <a:p>
            <a:r>
              <a:rPr lang="en-US" dirty="0"/>
              <a:t>Still learning more every day.</a:t>
            </a:r>
          </a:p>
          <a:p>
            <a:endParaRPr lang="en-US" dirty="0"/>
          </a:p>
          <a:p>
            <a:endParaRPr lang="en-US" dirty="0"/>
          </a:p>
        </p:txBody>
      </p:sp>
    </p:spTree>
    <p:extLst>
      <p:ext uri="{BB962C8B-B14F-4D97-AF65-F5344CB8AC3E}">
        <p14:creationId xmlns:p14="http://schemas.microsoft.com/office/powerpoint/2010/main" val="1547611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E7292-5830-3EF5-9C81-ED8522086C4A}"/>
              </a:ext>
            </a:extLst>
          </p:cNvPr>
          <p:cNvSpPr>
            <a:spLocks noGrp="1"/>
          </p:cNvSpPr>
          <p:nvPr>
            <p:ph type="title"/>
          </p:nvPr>
        </p:nvSpPr>
        <p:spPr/>
        <p:txBody>
          <a:bodyPr/>
          <a:lstStyle/>
          <a:p>
            <a:r>
              <a:rPr lang="en-US" dirty="0"/>
              <a:t>Methods and Tools</a:t>
            </a:r>
          </a:p>
        </p:txBody>
      </p:sp>
      <p:sp>
        <p:nvSpPr>
          <p:cNvPr id="3" name="Content Placeholder 2">
            <a:extLst>
              <a:ext uri="{FF2B5EF4-FFF2-40B4-BE49-F238E27FC236}">
                <a16:creationId xmlns:a16="http://schemas.microsoft.com/office/drawing/2014/main" id="{FD9CA1DB-A088-85AB-0C48-4A645B9AF2F5}"/>
              </a:ext>
            </a:extLst>
          </p:cNvPr>
          <p:cNvSpPr>
            <a:spLocks noGrp="1"/>
          </p:cNvSpPr>
          <p:nvPr>
            <p:ph idx="1"/>
          </p:nvPr>
        </p:nvSpPr>
        <p:spPr/>
        <p:txBody>
          <a:bodyPr/>
          <a:lstStyle/>
          <a:p>
            <a:r>
              <a:rPr lang="en-US" sz="1600" dirty="0"/>
              <a:t>‘ERP’ with </a:t>
            </a:r>
            <a:r>
              <a:rPr lang="en-US" sz="1600" dirty="0" err="1"/>
              <a:t>PowerBI</a:t>
            </a:r>
            <a:r>
              <a:rPr lang="en-US" sz="1600" dirty="0"/>
              <a:t> sitting ‘on top’ with Banks of Scorecards &amp; Dashboards sitting in </a:t>
            </a:r>
            <a:r>
              <a:rPr lang="en-US" sz="1600" dirty="0" err="1"/>
              <a:t>Sharepoint</a:t>
            </a:r>
            <a:r>
              <a:rPr lang="en-US" sz="1600" dirty="0"/>
              <a:t> with Tiered Huddles that engage for PDSA</a:t>
            </a:r>
          </a:p>
          <a:p>
            <a:r>
              <a:rPr lang="en-US" sz="1600" dirty="0"/>
              <a:t>Chartbooks by ‘unit’ with periodic reviews of performance against ‘spec limits’</a:t>
            </a:r>
          </a:p>
          <a:p>
            <a:r>
              <a:rPr lang="en-US" sz="1600" dirty="0"/>
              <a:t>Chart owners to ensure ‘dial’s’ on instrument panels/banks are sustained, fresh, high quality, creating insights and supporting decisions-actions-adjustments.</a:t>
            </a:r>
          </a:p>
          <a:p>
            <a:r>
              <a:rPr lang="en-US" sz="1600" dirty="0"/>
              <a:t>Control Point Scorecards/Dashboards—a control point is a spot in the process where we do or should capture data and we do or should make adjustments to how we manage things at that spot.  Creating visibility for Control Point performance is a great way to apply analytics.</a:t>
            </a:r>
          </a:p>
          <a:p>
            <a:endParaRPr lang="en-US" sz="2000" dirty="0"/>
          </a:p>
          <a:p>
            <a:r>
              <a:rPr lang="en-US" dirty="0"/>
              <a:t>What are some of the things you are doing?  </a:t>
            </a:r>
          </a:p>
        </p:txBody>
      </p:sp>
    </p:spTree>
    <p:extLst>
      <p:ext uri="{BB962C8B-B14F-4D97-AF65-F5344CB8AC3E}">
        <p14:creationId xmlns:p14="http://schemas.microsoft.com/office/powerpoint/2010/main" val="41635203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E590AAF4-5EC4-4395-B45C-55DFFA5E7CAD}"/>
              </a:ext>
            </a:extLst>
          </p:cNvPr>
          <p:cNvSpPr>
            <a:spLocks noGrp="1"/>
          </p:cNvSpPr>
          <p:nvPr>
            <p:ph type="title"/>
          </p:nvPr>
        </p:nvSpPr>
        <p:spPr>
          <a:xfrm>
            <a:off x="457200" y="123825"/>
            <a:ext cx="7940675" cy="1095375"/>
          </a:xfrm>
        </p:spPr>
        <p:txBody>
          <a:bodyPr/>
          <a:lstStyle/>
          <a:p>
            <a:pPr eaLnBrk="1" hangingPunct="1"/>
            <a:r>
              <a:rPr lang="en-US" altLang="en-US" sz="2800" dirty="0"/>
              <a:t>The Management Systems Model—information requires data, the data management role</a:t>
            </a:r>
          </a:p>
        </p:txBody>
      </p:sp>
      <p:sp>
        <p:nvSpPr>
          <p:cNvPr id="68627" name="AutoShape 4" descr="Image result for sheet metal clip art">
            <a:extLst>
              <a:ext uri="{FF2B5EF4-FFF2-40B4-BE49-F238E27FC236}">
                <a16:creationId xmlns:a16="http://schemas.microsoft.com/office/drawing/2014/main" id="{D1F70884-71A7-4970-8B78-63ACFA602C64}"/>
              </a:ext>
            </a:extLst>
          </p:cNvPr>
          <p:cNvSpPr>
            <a:spLocks noChangeAspect="1" noChangeArrowheads="1"/>
          </p:cNvSpPr>
          <p:nvPr/>
        </p:nvSpPr>
        <p:spPr bwMode="auto">
          <a:xfrm>
            <a:off x="307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solidFill>
                <a:srgbClr val="000000"/>
              </a:solidFill>
            </a:endParaRPr>
          </a:p>
        </p:txBody>
      </p:sp>
      <p:grpSp>
        <p:nvGrpSpPr>
          <p:cNvPr id="2" name="Group 1">
            <a:extLst>
              <a:ext uri="{FF2B5EF4-FFF2-40B4-BE49-F238E27FC236}">
                <a16:creationId xmlns:a16="http://schemas.microsoft.com/office/drawing/2014/main" id="{C6219531-88F5-40A5-A039-B586DA3EC594}"/>
              </a:ext>
            </a:extLst>
          </p:cNvPr>
          <p:cNvGrpSpPr/>
          <p:nvPr/>
        </p:nvGrpSpPr>
        <p:grpSpPr>
          <a:xfrm>
            <a:off x="66675" y="1589088"/>
            <a:ext cx="8848725" cy="5132387"/>
            <a:chOff x="66675" y="1589088"/>
            <a:chExt cx="8848725" cy="5132387"/>
          </a:xfrm>
        </p:grpSpPr>
        <p:sp>
          <p:nvSpPr>
            <p:cNvPr id="5" name="Oval 4">
              <a:extLst>
                <a:ext uri="{FF2B5EF4-FFF2-40B4-BE49-F238E27FC236}">
                  <a16:creationId xmlns:a16="http://schemas.microsoft.com/office/drawing/2014/main" id="{1CFCAD91-B0F7-4F0D-A039-4E997C3137E9}"/>
                </a:ext>
              </a:extLst>
            </p:cNvPr>
            <p:cNvSpPr/>
            <p:nvPr/>
          </p:nvSpPr>
          <p:spPr>
            <a:xfrm>
              <a:off x="2382838" y="4813300"/>
              <a:ext cx="3962400" cy="1908175"/>
            </a:xfrm>
            <a:prstGeom prst="ellipse">
              <a:avLst/>
            </a:prstGeom>
            <a:solidFill>
              <a:schemeClr val="tx2">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800" b="1" dirty="0">
                  <a:solidFill>
                    <a:prstClr val="white"/>
                  </a:solidFill>
                </a:rPr>
                <a:t>The Business Processes/Value Streams</a:t>
              </a:r>
            </a:p>
            <a:p>
              <a:pPr algn="ctr" fontAlgn="auto">
                <a:spcBef>
                  <a:spcPts val="0"/>
                </a:spcBef>
                <a:spcAft>
                  <a:spcPts val="0"/>
                </a:spcAft>
                <a:defRPr/>
              </a:pPr>
              <a:endParaRPr lang="en-US" sz="1800" dirty="0">
                <a:solidFill>
                  <a:prstClr val="white"/>
                </a:solidFill>
              </a:endParaRPr>
            </a:p>
          </p:txBody>
        </p:sp>
        <p:sp>
          <p:nvSpPr>
            <p:cNvPr id="8" name="Right Arrow 7">
              <a:extLst>
                <a:ext uri="{FF2B5EF4-FFF2-40B4-BE49-F238E27FC236}">
                  <a16:creationId xmlns:a16="http://schemas.microsoft.com/office/drawing/2014/main" id="{A31D1CF0-F471-413F-8950-7C34FED0A775}"/>
                </a:ext>
              </a:extLst>
            </p:cNvPr>
            <p:cNvSpPr/>
            <p:nvPr/>
          </p:nvSpPr>
          <p:spPr>
            <a:xfrm>
              <a:off x="1670050" y="5357813"/>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9" name="Right Arrow 8">
              <a:extLst>
                <a:ext uri="{FF2B5EF4-FFF2-40B4-BE49-F238E27FC236}">
                  <a16:creationId xmlns:a16="http://schemas.microsoft.com/office/drawing/2014/main" id="{CE26577A-1A83-459D-9D29-595E63A23AB9}"/>
                </a:ext>
              </a:extLst>
            </p:cNvPr>
            <p:cNvSpPr/>
            <p:nvPr/>
          </p:nvSpPr>
          <p:spPr>
            <a:xfrm>
              <a:off x="6019800" y="5357752"/>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Cloud 9">
              <a:extLst>
                <a:ext uri="{FF2B5EF4-FFF2-40B4-BE49-F238E27FC236}">
                  <a16:creationId xmlns:a16="http://schemas.microsoft.com/office/drawing/2014/main" id="{B248822B-B4B5-4968-BE76-F9CCBFF3EF29}"/>
                </a:ext>
              </a:extLst>
            </p:cNvPr>
            <p:cNvSpPr/>
            <p:nvPr/>
          </p:nvSpPr>
          <p:spPr>
            <a:xfrm>
              <a:off x="79375" y="4886325"/>
              <a:ext cx="1597025"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Upstream Systems and Inputs:</a:t>
              </a:r>
            </a:p>
            <a:p>
              <a:pPr algn="ctr" fontAlgn="auto">
                <a:spcBef>
                  <a:spcPts val="0"/>
                </a:spcBef>
                <a:spcAft>
                  <a:spcPts val="0"/>
                </a:spcAft>
                <a:defRPr/>
              </a:pPr>
              <a:r>
                <a:rPr lang="en-US" sz="1200" b="1" dirty="0">
                  <a:solidFill>
                    <a:prstClr val="white"/>
                  </a:solidFill>
                </a:rPr>
                <a:t>Suppliers &amp; customer orders</a:t>
              </a:r>
            </a:p>
          </p:txBody>
        </p:sp>
        <p:sp>
          <p:nvSpPr>
            <p:cNvPr id="11" name="Cloud 10">
              <a:extLst>
                <a:ext uri="{FF2B5EF4-FFF2-40B4-BE49-F238E27FC236}">
                  <a16:creationId xmlns:a16="http://schemas.microsoft.com/office/drawing/2014/main" id="{F9F73316-CB56-4185-991C-03119509D8E3}"/>
                </a:ext>
              </a:extLst>
            </p:cNvPr>
            <p:cNvSpPr/>
            <p:nvPr/>
          </p:nvSpPr>
          <p:spPr>
            <a:xfrm>
              <a:off x="7086600" y="4948238"/>
              <a:ext cx="1828800"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Downstream Systems and Outputs:</a:t>
              </a:r>
            </a:p>
            <a:p>
              <a:pPr algn="ctr" fontAlgn="auto">
                <a:spcBef>
                  <a:spcPts val="0"/>
                </a:spcBef>
                <a:spcAft>
                  <a:spcPts val="0"/>
                </a:spcAft>
                <a:defRPr/>
              </a:pPr>
              <a:r>
                <a:rPr lang="en-US" sz="1200" b="1" dirty="0">
                  <a:solidFill>
                    <a:prstClr val="white"/>
                  </a:solidFill>
                </a:rPr>
                <a:t>Orders Fulfilled</a:t>
              </a:r>
            </a:p>
          </p:txBody>
        </p:sp>
        <p:cxnSp>
          <p:nvCxnSpPr>
            <p:cNvPr id="16" name="Straight Arrow Connector 15">
              <a:extLst>
                <a:ext uri="{FF2B5EF4-FFF2-40B4-BE49-F238E27FC236}">
                  <a16:creationId xmlns:a16="http://schemas.microsoft.com/office/drawing/2014/main" id="{ECFD1F2F-4772-448A-899E-933B87CD8A36}"/>
                </a:ext>
              </a:extLst>
            </p:cNvPr>
            <p:cNvCxnSpPr/>
            <p:nvPr/>
          </p:nvCxnSpPr>
          <p:spPr>
            <a:xfrm flipV="1">
              <a:off x="6056313" y="3556000"/>
              <a:ext cx="862012" cy="1485900"/>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21" name="Oval 20">
              <a:extLst>
                <a:ext uri="{FF2B5EF4-FFF2-40B4-BE49-F238E27FC236}">
                  <a16:creationId xmlns:a16="http://schemas.microsoft.com/office/drawing/2014/main" id="{AFACE195-A7A4-4C23-896A-042A86F95A70}"/>
                </a:ext>
              </a:extLst>
            </p:cNvPr>
            <p:cNvSpPr/>
            <p:nvPr/>
          </p:nvSpPr>
          <p:spPr>
            <a:xfrm>
              <a:off x="6299200" y="1863725"/>
              <a:ext cx="2463800" cy="1639888"/>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400" b="1" dirty="0">
                  <a:solidFill>
                    <a:prstClr val="white"/>
                  </a:solidFill>
                </a:rPr>
                <a:t>Data management and Operational Analytics</a:t>
              </a:r>
            </a:p>
            <a:p>
              <a:pPr algn="ctr" fontAlgn="auto">
                <a:spcBef>
                  <a:spcPts val="0"/>
                </a:spcBef>
                <a:spcAft>
                  <a:spcPts val="0"/>
                </a:spcAft>
                <a:defRPr/>
              </a:pPr>
              <a:endParaRPr lang="en-US" sz="1800" dirty="0">
                <a:solidFill>
                  <a:prstClr val="white"/>
                </a:solidFill>
              </a:endParaRPr>
            </a:p>
          </p:txBody>
        </p:sp>
        <p:sp>
          <p:nvSpPr>
            <p:cNvPr id="23" name="Explosion 1 22">
              <a:extLst>
                <a:ext uri="{FF2B5EF4-FFF2-40B4-BE49-F238E27FC236}">
                  <a16:creationId xmlns:a16="http://schemas.microsoft.com/office/drawing/2014/main" id="{48773753-88F0-4030-85B1-0FAD47D42813}"/>
                </a:ext>
              </a:extLst>
            </p:cNvPr>
            <p:cNvSpPr/>
            <p:nvPr/>
          </p:nvSpPr>
          <p:spPr>
            <a:xfrm>
              <a:off x="6689725" y="3584575"/>
              <a:ext cx="1216025" cy="954088"/>
            </a:xfrm>
            <a:prstGeom prst="irregularSeal1">
              <a:avLst/>
            </a:prstGeom>
            <a:gradFill flip="none" rotWithShape="1">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lin ang="0" scaled="1"/>
              <a:tileRect/>
            </a:gra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entry</a:t>
              </a:r>
            </a:p>
          </p:txBody>
        </p:sp>
        <p:sp>
          <p:nvSpPr>
            <p:cNvPr id="26" name="Bent Arrow 25">
              <a:extLst>
                <a:ext uri="{FF2B5EF4-FFF2-40B4-BE49-F238E27FC236}">
                  <a16:creationId xmlns:a16="http://schemas.microsoft.com/office/drawing/2014/main" id="{3C7B199D-F5CD-4DAC-A1DF-509104F6EB75}"/>
                </a:ext>
              </a:extLst>
            </p:cNvPr>
            <p:cNvSpPr/>
            <p:nvPr/>
          </p:nvSpPr>
          <p:spPr>
            <a:xfrm rot="3508160" flipH="1">
              <a:off x="7785101" y="3506787"/>
              <a:ext cx="557212" cy="442913"/>
            </a:xfrm>
            <a:prstGeom prst="bentArrow">
              <a:avLst>
                <a:gd name="adj1" fmla="val 18742"/>
                <a:gd name="adj2" fmla="val 26648"/>
                <a:gd name="adj3" fmla="val 37505"/>
                <a:gd name="adj4" fmla="val 38805"/>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black"/>
                </a:solidFill>
              </a:endParaRPr>
            </a:p>
          </p:txBody>
        </p:sp>
        <p:sp>
          <p:nvSpPr>
            <p:cNvPr id="27" name="Explosion 1 26">
              <a:extLst>
                <a:ext uri="{FF2B5EF4-FFF2-40B4-BE49-F238E27FC236}">
                  <a16:creationId xmlns:a16="http://schemas.microsoft.com/office/drawing/2014/main" id="{2FF7A2AB-60D0-4ADF-A924-E524B3115835}"/>
                </a:ext>
              </a:extLst>
            </p:cNvPr>
            <p:cNvSpPr/>
            <p:nvPr/>
          </p:nvSpPr>
          <p:spPr>
            <a:xfrm>
              <a:off x="6492875" y="2698750"/>
              <a:ext cx="1917700" cy="989013"/>
            </a:xfrm>
            <a:prstGeom prst="irregularSeal1">
              <a:avLst/>
            </a:prstGeom>
            <a:gradFill flip="none" rotWithShape="1">
              <a:gsLst>
                <a:gs pos="0">
                  <a:schemeClr val="accent2">
                    <a:lumMod val="20000"/>
                    <a:lumOff val="80000"/>
                    <a:shade val="30000"/>
                    <a:satMod val="115000"/>
                  </a:schemeClr>
                </a:gs>
                <a:gs pos="50000">
                  <a:schemeClr val="accent2">
                    <a:lumMod val="20000"/>
                    <a:lumOff val="80000"/>
                    <a:shade val="67500"/>
                    <a:satMod val="115000"/>
                  </a:schemeClr>
                </a:gs>
                <a:gs pos="100000">
                  <a:schemeClr val="accent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400" dirty="0">
                <a:solidFill>
                  <a:srgbClr val="1F497D">
                    <a:lumMod val="50000"/>
                  </a:srgbClr>
                </a:solidFill>
              </a:endParaRPr>
            </a:p>
          </p:txBody>
        </p:sp>
        <p:sp>
          <p:nvSpPr>
            <p:cNvPr id="28" name="TextBox 27">
              <a:extLst>
                <a:ext uri="{FF2B5EF4-FFF2-40B4-BE49-F238E27FC236}">
                  <a16:creationId xmlns:a16="http://schemas.microsoft.com/office/drawing/2014/main" id="{0149BC82-5294-4D46-B818-5B7F243B9D16}"/>
                </a:ext>
              </a:extLst>
            </p:cNvPr>
            <p:cNvSpPr txBox="1">
              <a:spLocks noChangeArrowheads="1"/>
            </p:cNvSpPr>
            <p:nvPr/>
          </p:nvSpPr>
          <p:spPr bwMode="auto">
            <a:xfrm>
              <a:off x="6815138" y="3054350"/>
              <a:ext cx="1828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10000"/>
                  </a:solidFill>
                  <a:latin typeface="Arial" charset="0"/>
                </a:defRPr>
              </a:lvl1pPr>
              <a:lvl2pPr marL="742950" indent="-285750" eaLnBrk="0" hangingPunct="0">
                <a:defRPr sz="900">
                  <a:solidFill>
                    <a:srgbClr val="010000"/>
                  </a:solidFill>
                  <a:latin typeface="Arial" charset="0"/>
                </a:defRPr>
              </a:lvl2pPr>
              <a:lvl3pPr marL="1143000" indent="-228600" eaLnBrk="0" hangingPunct="0">
                <a:defRPr sz="900">
                  <a:solidFill>
                    <a:srgbClr val="010000"/>
                  </a:solidFill>
                  <a:latin typeface="Arial" charset="0"/>
                </a:defRPr>
              </a:lvl3pPr>
              <a:lvl4pPr marL="1600200" indent="-228600" eaLnBrk="0" hangingPunct="0">
                <a:defRPr sz="900">
                  <a:solidFill>
                    <a:srgbClr val="010000"/>
                  </a:solidFill>
                  <a:latin typeface="Arial" charset="0"/>
                </a:defRPr>
              </a:lvl4pPr>
              <a:lvl5pPr marL="2057400" indent="-228600" eaLnBrk="0" hangingPunct="0">
                <a:defRPr sz="900">
                  <a:solidFill>
                    <a:srgbClr val="010000"/>
                  </a:solidFill>
                  <a:latin typeface="Arial" charset="0"/>
                </a:defRPr>
              </a:lvl5pPr>
              <a:lvl6pPr marL="2514600" indent="-228600" eaLnBrk="0" fontAlgn="base" hangingPunct="0">
                <a:spcBef>
                  <a:spcPct val="0"/>
                </a:spcBef>
                <a:spcAft>
                  <a:spcPct val="0"/>
                </a:spcAft>
                <a:defRPr sz="900">
                  <a:solidFill>
                    <a:srgbClr val="010000"/>
                  </a:solidFill>
                  <a:latin typeface="Arial" charset="0"/>
                </a:defRPr>
              </a:lvl6pPr>
              <a:lvl7pPr marL="2971800" indent="-228600" eaLnBrk="0" fontAlgn="base" hangingPunct="0">
                <a:spcBef>
                  <a:spcPct val="0"/>
                </a:spcBef>
                <a:spcAft>
                  <a:spcPct val="0"/>
                </a:spcAft>
                <a:defRPr sz="900">
                  <a:solidFill>
                    <a:srgbClr val="010000"/>
                  </a:solidFill>
                  <a:latin typeface="Arial" charset="0"/>
                </a:defRPr>
              </a:lvl7pPr>
              <a:lvl8pPr marL="3429000" indent="-228600" eaLnBrk="0" fontAlgn="base" hangingPunct="0">
                <a:spcBef>
                  <a:spcPct val="0"/>
                </a:spcBef>
                <a:spcAft>
                  <a:spcPct val="0"/>
                </a:spcAft>
                <a:defRPr sz="900">
                  <a:solidFill>
                    <a:srgbClr val="010000"/>
                  </a:solidFill>
                  <a:latin typeface="Arial" charset="0"/>
                </a:defRPr>
              </a:lvl8pPr>
              <a:lvl9pPr marL="3886200" indent="-228600" eaLnBrk="0" fontAlgn="base" hangingPunct="0">
                <a:spcBef>
                  <a:spcPct val="0"/>
                </a:spcBef>
                <a:spcAft>
                  <a:spcPct val="0"/>
                </a:spcAft>
                <a:defRPr sz="900">
                  <a:solidFill>
                    <a:srgbClr val="010000"/>
                  </a:solidFill>
                  <a:latin typeface="Arial" charset="0"/>
                </a:defRPr>
              </a:lvl9pPr>
            </a:lstStyle>
            <a:p>
              <a:pPr eaLnBrk="1" hangingPunct="1">
                <a:defRPr/>
              </a:pPr>
              <a:r>
                <a:rPr lang="en-US" altLang="en-US" sz="1050" dirty="0">
                  <a:solidFill>
                    <a:srgbClr val="C00000"/>
                  </a:solidFill>
                </a:rPr>
                <a:t>Data Organization</a:t>
              </a:r>
            </a:p>
          </p:txBody>
        </p:sp>
        <p:cxnSp>
          <p:nvCxnSpPr>
            <p:cNvPr id="34" name="Straight Arrow Connector 33">
              <a:extLst>
                <a:ext uri="{FF2B5EF4-FFF2-40B4-BE49-F238E27FC236}">
                  <a16:creationId xmlns:a16="http://schemas.microsoft.com/office/drawing/2014/main" id="{9DBFCDF8-7155-48EA-8DD3-1EFD4EEFE83C}"/>
                </a:ext>
              </a:extLst>
            </p:cNvPr>
            <p:cNvCxnSpPr/>
            <p:nvPr/>
          </p:nvCxnSpPr>
          <p:spPr>
            <a:xfrm flipH="1">
              <a:off x="2700338" y="2851150"/>
              <a:ext cx="3409950" cy="7938"/>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39" name="Oval 38">
              <a:extLst>
                <a:ext uri="{FF2B5EF4-FFF2-40B4-BE49-F238E27FC236}">
                  <a16:creationId xmlns:a16="http://schemas.microsoft.com/office/drawing/2014/main" id="{89B5AFD2-24B7-463A-A991-FD59943D6F40}"/>
                </a:ext>
              </a:extLst>
            </p:cNvPr>
            <p:cNvSpPr/>
            <p:nvPr/>
          </p:nvSpPr>
          <p:spPr>
            <a:xfrm>
              <a:off x="66675" y="1698625"/>
              <a:ext cx="2633663" cy="1673225"/>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200" b="1" dirty="0">
                  <a:solidFill>
                    <a:prstClr val="white"/>
                  </a:solidFill>
                </a:rPr>
                <a:t>Leadership &amp; management team</a:t>
              </a:r>
            </a:p>
            <a:p>
              <a:pPr algn="ctr" fontAlgn="auto">
                <a:spcBef>
                  <a:spcPts val="0"/>
                </a:spcBef>
                <a:spcAft>
                  <a:spcPts val="0"/>
                </a:spcAft>
                <a:defRPr/>
              </a:pPr>
              <a:endParaRPr lang="en-US" sz="1200" b="1" dirty="0">
                <a:solidFill>
                  <a:prstClr val="white"/>
                </a:solidFill>
              </a:endParaRPr>
            </a:p>
            <a:p>
              <a:pPr algn="ctr" fontAlgn="auto">
                <a:spcBef>
                  <a:spcPts val="0"/>
                </a:spcBef>
                <a:spcAft>
                  <a:spcPts val="0"/>
                </a:spcAft>
                <a:defRPr/>
              </a:pPr>
              <a:r>
                <a:rPr lang="en-US" sz="1200" dirty="0">
                  <a:solidFill>
                    <a:prstClr val="white"/>
                  </a:solidFill>
                </a:rPr>
                <a:t>(wisdom application, data/facts to information conversion process)</a:t>
              </a:r>
            </a:p>
            <a:p>
              <a:pPr algn="ctr" fontAlgn="auto">
                <a:spcBef>
                  <a:spcPts val="0"/>
                </a:spcBef>
                <a:spcAft>
                  <a:spcPts val="0"/>
                </a:spcAft>
                <a:defRPr/>
              </a:pPr>
              <a:endParaRPr lang="en-US" sz="1600" dirty="0">
                <a:solidFill>
                  <a:prstClr val="white"/>
                </a:solidFill>
              </a:endParaRPr>
            </a:p>
          </p:txBody>
        </p:sp>
        <p:cxnSp>
          <p:nvCxnSpPr>
            <p:cNvPr id="41" name="Straight Arrow Connector 40">
              <a:extLst>
                <a:ext uri="{FF2B5EF4-FFF2-40B4-BE49-F238E27FC236}">
                  <a16:creationId xmlns:a16="http://schemas.microsoft.com/office/drawing/2014/main" id="{EE7833D6-17C3-45A9-B47E-B79684DC2B8B}"/>
                </a:ext>
              </a:extLst>
            </p:cNvPr>
            <p:cNvCxnSpPr/>
            <p:nvPr/>
          </p:nvCxnSpPr>
          <p:spPr>
            <a:xfrm>
              <a:off x="1609725" y="3503613"/>
              <a:ext cx="1308100" cy="1406525"/>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25" name="Explosion 1 24">
              <a:extLst>
                <a:ext uri="{FF2B5EF4-FFF2-40B4-BE49-F238E27FC236}">
                  <a16:creationId xmlns:a16="http://schemas.microsoft.com/office/drawing/2014/main" id="{2B41229C-F5CD-4E4E-B684-7F2083F6FB50}"/>
                </a:ext>
              </a:extLst>
            </p:cNvPr>
            <p:cNvSpPr/>
            <p:nvPr/>
          </p:nvSpPr>
          <p:spPr>
            <a:xfrm>
              <a:off x="5245100" y="3913188"/>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29" name="Explosion 1 28">
              <a:extLst>
                <a:ext uri="{FF2B5EF4-FFF2-40B4-BE49-F238E27FC236}">
                  <a16:creationId xmlns:a16="http://schemas.microsoft.com/office/drawing/2014/main" id="{4DDD79A7-7543-4ECD-A368-E9ACD507C43E}"/>
                </a:ext>
              </a:extLst>
            </p:cNvPr>
            <p:cNvSpPr/>
            <p:nvPr/>
          </p:nvSpPr>
          <p:spPr>
            <a:xfrm>
              <a:off x="4608513" y="1778000"/>
              <a:ext cx="1712912" cy="1103313"/>
            </a:xfrm>
            <a:prstGeom prst="irregularSeal1">
              <a:avLst/>
            </a:prstGeom>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srgbClr val="1F497D">
                      <a:lumMod val="50000"/>
                    </a:srgbClr>
                  </a:solidFill>
                </a:rPr>
                <a:t>Information portrayal</a:t>
              </a:r>
            </a:p>
          </p:txBody>
        </p:sp>
        <p:sp>
          <p:nvSpPr>
            <p:cNvPr id="30" name="Explosion 1 29">
              <a:extLst>
                <a:ext uri="{FF2B5EF4-FFF2-40B4-BE49-F238E27FC236}">
                  <a16:creationId xmlns:a16="http://schemas.microsoft.com/office/drawing/2014/main" id="{BFCB82B5-6012-401F-8659-BCA91AB63664}"/>
                </a:ext>
              </a:extLst>
            </p:cNvPr>
            <p:cNvSpPr/>
            <p:nvPr/>
          </p:nvSpPr>
          <p:spPr>
            <a:xfrm>
              <a:off x="2736850" y="1589088"/>
              <a:ext cx="1911350" cy="1398587"/>
            </a:xfrm>
            <a:prstGeom prst="irregularSeal1">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srgbClr val="1F497D">
                      <a:lumMod val="50000"/>
                    </a:srgbClr>
                  </a:solidFill>
                </a:rPr>
                <a:t>Information perception/ understanding/ insights</a:t>
              </a:r>
            </a:p>
          </p:txBody>
        </p:sp>
        <p:sp>
          <p:nvSpPr>
            <p:cNvPr id="31" name="Explosion 1 30">
              <a:extLst>
                <a:ext uri="{FF2B5EF4-FFF2-40B4-BE49-F238E27FC236}">
                  <a16:creationId xmlns:a16="http://schemas.microsoft.com/office/drawing/2014/main" id="{9A8B9EA3-F8E1-4010-BDD7-B509149F0D8B}"/>
                </a:ext>
              </a:extLst>
            </p:cNvPr>
            <p:cNvSpPr/>
            <p:nvPr/>
          </p:nvSpPr>
          <p:spPr>
            <a:xfrm>
              <a:off x="501650" y="3449638"/>
              <a:ext cx="1325563" cy="949325"/>
            </a:xfrm>
            <a:prstGeom prst="irregularSeal1">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080000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Decisions</a:t>
              </a:r>
            </a:p>
          </p:txBody>
        </p:sp>
        <p:sp>
          <p:nvSpPr>
            <p:cNvPr id="32" name="Explosion 1 31">
              <a:extLst>
                <a:ext uri="{FF2B5EF4-FFF2-40B4-BE49-F238E27FC236}">
                  <a16:creationId xmlns:a16="http://schemas.microsoft.com/office/drawing/2014/main" id="{96CC856B-486B-4F24-8F23-CA9FC6162F9C}"/>
                </a:ext>
              </a:extLst>
            </p:cNvPr>
            <p:cNvSpPr/>
            <p:nvPr/>
          </p:nvSpPr>
          <p:spPr>
            <a:xfrm>
              <a:off x="2165350" y="3589338"/>
              <a:ext cx="1325563" cy="947737"/>
            </a:xfrm>
            <a:prstGeom prst="irregularSeal1">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Actions</a:t>
              </a:r>
            </a:p>
          </p:txBody>
        </p:sp>
        <p:pic>
          <p:nvPicPr>
            <p:cNvPr id="68633" name="Picture 27" descr="Image result for value stream map simple images">
              <a:extLst>
                <a:ext uri="{FF2B5EF4-FFF2-40B4-BE49-F238E27FC236}">
                  <a16:creationId xmlns:a16="http://schemas.microsoft.com/office/drawing/2014/main" id="{1031AA4C-A6FD-4C7C-A144-B6C83431A0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321" t="14018" r="6564" b="7230"/>
            <a:stretch>
              <a:fillRect/>
            </a:stretch>
          </p:blipFill>
          <p:spPr bwMode="auto">
            <a:xfrm>
              <a:off x="2827338" y="6062663"/>
              <a:ext cx="3005137"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Oval 2">
            <a:extLst>
              <a:ext uri="{FF2B5EF4-FFF2-40B4-BE49-F238E27FC236}">
                <a16:creationId xmlns:a16="http://schemas.microsoft.com/office/drawing/2014/main" id="{1CA5C6ED-4FBE-1082-089F-8DE5DD85D7E3}"/>
              </a:ext>
            </a:extLst>
          </p:cNvPr>
          <p:cNvSpPr/>
          <p:nvPr/>
        </p:nvSpPr>
        <p:spPr>
          <a:xfrm rot="18277465">
            <a:off x="5196903" y="2946532"/>
            <a:ext cx="3133884" cy="1979613"/>
          </a:xfrm>
          <a:prstGeom prst="ellipse">
            <a:avLst/>
          </a:prstGeom>
          <a:solidFill>
            <a:srgbClr val="C00000">
              <a:alpha val="14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8322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0352D-5EAC-064F-58FC-240258C49B7C}"/>
              </a:ext>
            </a:extLst>
          </p:cNvPr>
          <p:cNvSpPr>
            <a:spLocks noGrp="1"/>
          </p:cNvSpPr>
          <p:nvPr>
            <p:ph type="title"/>
          </p:nvPr>
        </p:nvSpPr>
        <p:spPr>
          <a:xfrm>
            <a:off x="457200" y="163667"/>
            <a:ext cx="8229600" cy="1143000"/>
          </a:xfrm>
        </p:spPr>
        <p:txBody>
          <a:bodyPr>
            <a:normAutofit fontScale="90000"/>
          </a:bodyPr>
          <a:lstStyle/>
          <a:p>
            <a:r>
              <a:rPr lang="en-US" dirty="0"/>
              <a:t>The Simplest Causal Model—your data model essentially</a:t>
            </a:r>
          </a:p>
        </p:txBody>
      </p:sp>
      <p:sp>
        <p:nvSpPr>
          <p:cNvPr id="7" name="Oval 6">
            <a:extLst>
              <a:ext uri="{FF2B5EF4-FFF2-40B4-BE49-F238E27FC236}">
                <a16:creationId xmlns:a16="http://schemas.microsoft.com/office/drawing/2014/main" id="{2AC7AC12-BFB3-DE58-8315-D1711B732B96}"/>
              </a:ext>
            </a:extLst>
          </p:cNvPr>
          <p:cNvSpPr/>
          <p:nvPr/>
        </p:nvSpPr>
        <p:spPr>
          <a:xfrm>
            <a:off x="5682996" y="2438400"/>
            <a:ext cx="914400" cy="27432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3200" dirty="0"/>
          </a:p>
          <a:p>
            <a:pPr algn="ctr"/>
            <a:r>
              <a:rPr lang="en-US" sz="3200" dirty="0"/>
              <a:t>Y</a:t>
            </a:r>
            <a:r>
              <a:rPr lang="en-US" sz="3200" baseline="-25000" dirty="0"/>
              <a:t>1</a:t>
            </a:r>
          </a:p>
          <a:p>
            <a:pPr algn="ctr"/>
            <a:endParaRPr lang="en-US" sz="3200" baseline="-25000" dirty="0"/>
          </a:p>
          <a:p>
            <a:pPr algn="ctr"/>
            <a:endParaRPr lang="en-US" sz="3200" baseline="-25000" dirty="0"/>
          </a:p>
          <a:p>
            <a:pPr algn="ctr"/>
            <a:r>
              <a:rPr lang="en-US" sz="3200" dirty="0"/>
              <a:t>Y</a:t>
            </a:r>
            <a:r>
              <a:rPr lang="en-US" sz="3200" baseline="-25000" dirty="0"/>
              <a:t>n</a:t>
            </a:r>
          </a:p>
          <a:p>
            <a:pPr algn="ctr"/>
            <a:endParaRPr lang="en-US" sz="3200" dirty="0"/>
          </a:p>
        </p:txBody>
      </p:sp>
      <p:sp>
        <p:nvSpPr>
          <p:cNvPr id="8" name="Rectangle: Rounded Corners 7">
            <a:extLst>
              <a:ext uri="{FF2B5EF4-FFF2-40B4-BE49-F238E27FC236}">
                <a16:creationId xmlns:a16="http://schemas.microsoft.com/office/drawing/2014/main" id="{A6610735-000D-2D77-8288-53669FDF94AF}"/>
              </a:ext>
            </a:extLst>
          </p:cNvPr>
          <p:cNvSpPr/>
          <p:nvPr/>
        </p:nvSpPr>
        <p:spPr>
          <a:xfrm>
            <a:off x="6705600" y="1524000"/>
            <a:ext cx="1676400" cy="49530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dirty="0"/>
          </a:p>
          <a:p>
            <a:pPr algn="ctr"/>
            <a:r>
              <a:rPr lang="en-US" sz="1800" dirty="0"/>
              <a:t>Y’s are the effects of interest</a:t>
            </a:r>
          </a:p>
          <a:p>
            <a:pPr algn="ctr"/>
            <a:endParaRPr lang="en-US" sz="1800" dirty="0"/>
          </a:p>
          <a:p>
            <a:pPr algn="ctr"/>
            <a:r>
              <a:rPr lang="en-US" sz="1800" dirty="0"/>
              <a:t>X’s are the causal variable of interest that we have data for</a:t>
            </a:r>
          </a:p>
          <a:p>
            <a:pPr algn="ctr"/>
            <a:endParaRPr lang="en-US" sz="1800" dirty="0"/>
          </a:p>
          <a:p>
            <a:pPr algn="ctr"/>
            <a:endParaRPr lang="en-US" sz="1800" dirty="0"/>
          </a:p>
          <a:p>
            <a:pPr algn="ctr"/>
            <a:r>
              <a:rPr lang="en-US" sz="1800" dirty="0"/>
              <a:t>U’s are one or more of the unknown or unmeasured variables</a:t>
            </a:r>
          </a:p>
          <a:p>
            <a:pPr algn="ctr"/>
            <a:endParaRPr lang="en-US" sz="1800" dirty="0"/>
          </a:p>
          <a:p>
            <a:pPr algn="ctr"/>
            <a:endParaRPr lang="en-US" sz="1800" dirty="0"/>
          </a:p>
        </p:txBody>
      </p:sp>
      <p:sp>
        <p:nvSpPr>
          <p:cNvPr id="3" name="Oval 2">
            <a:extLst>
              <a:ext uri="{FF2B5EF4-FFF2-40B4-BE49-F238E27FC236}">
                <a16:creationId xmlns:a16="http://schemas.microsoft.com/office/drawing/2014/main" id="{FC83EE5F-B4D7-668A-A61C-4219ABDB30B8}"/>
              </a:ext>
            </a:extLst>
          </p:cNvPr>
          <p:cNvSpPr/>
          <p:nvPr/>
        </p:nvSpPr>
        <p:spPr>
          <a:xfrm>
            <a:off x="381000" y="1417638"/>
            <a:ext cx="4800600" cy="5287962"/>
          </a:xfrm>
          <a:prstGeom prst="ellipse">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rrow: Right 3">
            <a:extLst>
              <a:ext uri="{FF2B5EF4-FFF2-40B4-BE49-F238E27FC236}">
                <a16:creationId xmlns:a16="http://schemas.microsoft.com/office/drawing/2014/main" id="{DFC50A58-7420-9DAF-6650-8070FF3D11FF}"/>
              </a:ext>
            </a:extLst>
          </p:cNvPr>
          <p:cNvSpPr/>
          <p:nvPr/>
        </p:nvSpPr>
        <p:spPr>
          <a:xfrm>
            <a:off x="4768596" y="3657600"/>
            <a:ext cx="978408" cy="484632"/>
          </a:xfrm>
          <a:prstGeom prst="rightArrow">
            <a:avLst/>
          </a:prstGeom>
          <a:solidFill>
            <a:srgbClr val="E47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FBE9EB6-20F5-0532-3E38-BE132E6AC645}"/>
              </a:ext>
            </a:extLst>
          </p:cNvPr>
          <p:cNvSpPr/>
          <p:nvPr/>
        </p:nvSpPr>
        <p:spPr>
          <a:xfrm>
            <a:off x="2209800" y="1828800"/>
            <a:ext cx="914400" cy="609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t>x</a:t>
            </a:r>
            <a:r>
              <a:rPr lang="en-US" sz="1800" baseline="-25000" dirty="0"/>
              <a:t>1</a:t>
            </a:r>
            <a:endParaRPr lang="en-US" sz="1800" dirty="0"/>
          </a:p>
        </p:txBody>
      </p:sp>
      <p:sp>
        <p:nvSpPr>
          <p:cNvPr id="6" name="Rectangle 5">
            <a:extLst>
              <a:ext uri="{FF2B5EF4-FFF2-40B4-BE49-F238E27FC236}">
                <a16:creationId xmlns:a16="http://schemas.microsoft.com/office/drawing/2014/main" id="{C6BA335F-10B2-902C-A03C-189AC30F091F}"/>
              </a:ext>
            </a:extLst>
          </p:cNvPr>
          <p:cNvSpPr/>
          <p:nvPr/>
        </p:nvSpPr>
        <p:spPr>
          <a:xfrm>
            <a:off x="2208362" y="2941638"/>
            <a:ext cx="914400" cy="609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err="1"/>
              <a:t>x</a:t>
            </a:r>
            <a:r>
              <a:rPr lang="en-US" sz="1800" baseline="-25000" dirty="0" err="1"/>
              <a:t>n</a:t>
            </a:r>
            <a:endParaRPr lang="en-US" sz="1800" dirty="0"/>
          </a:p>
        </p:txBody>
      </p:sp>
      <p:sp>
        <p:nvSpPr>
          <p:cNvPr id="11" name="Rectangle 10">
            <a:extLst>
              <a:ext uri="{FF2B5EF4-FFF2-40B4-BE49-F238E27FC236}">
                <a16:creationId xmlns:a16="http://schemas.microsoft.com/office/drawing/2014/main" id="{D4AB93AC-E71A-FA7F-45B6-6C59FDE1ABCB}"/>
              </a:ext>
            </a:extLst>
          </p:cNvPr>
          <p:cNvSpPr/>
          <p:nvPr/>
        </p:nvSpPr>
        <p:spPr>
          <a:xfrm>
            <a:off x="2196860" y="3960274"/>
            <a:ext cx="914400" cy="609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t>U</a:t>
            </a:r>
            <a:r>
              <a:rPr lang="en-US" sz="1800" baseline="-25000" dirty="0"/>
              <a:t>1</a:t>
            </a:r>
            <a:endParaRPr lang="en-US" sz="1800" dirty="0"/>
          </a:p>
        </p:txBody>
      </p:sp>
      <p:sp>
        <p:nvSpPr>
          <p:cNvPr id="12" name="Rectangle 11">
            <a:extLst>
              <a:ext uri="{FF2B5EF4-FFF2-40B4-BE49-F238E27FC236}">
                <a16:creationId xmlns:a16="http://schemas.microsoft.com/office/drawing/2014/main" id="{82BE0146-0CFC-0519-2033-09EB8851550E}"/>
              </a:ext>
            </a:extLst>
          </p:cNvPr>
          <p:cNvSpPr/>
          <p:nvPr/>
        </p:nvSpPr>
        <p:spPr>
          <a:xfrm>
            <a:off x="2196860" y="5310683"/>
            <a:ext cx="914400" cy="6096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t>U</a:t>
            </a:r>
            <a:r>
              <a:rPr lang="en-US" sz="1800" baseline="-25000" dirty="0"/>
              <a:t>n</a:t>
            </a:r>
            <a:endParaRPr lang="en-US" sz="1800" dirty="0"/>
          </a:p>
        </p:txBody>
      </p:sp>
      <p:cxnSp>
        <p:nvCxnSpPr>
          <p:cNvPr id="14" name="Straight Connector 13">
            <a:extLst>
              <a:ext uri="{FF2B5EF4-FFF2-40B4-BE49-F238E27FC236}">
                <a16:creationId xmlns:a16="http://schemas.microsoft.com/office/drawing/2014/main" id="{E8534CF4-C252-4D17-8AC4-72BF43DB27D7}"/>
              </a:ext>
            </a:extLst>
          </p:cNvPr>
          <p:cNvCxnSpPr>
            <a:stCxn id="5" idx="2"/>
            <a:endCxn id="6" idx="0"/>
          </p:cNvCxnSpPr>
          <p:nvPr/>
        </p:nvCxnSpPr>
        <p:spPr>
          <a:xfrm flipH="1">
            <a:off x="2665562" y="2438400"/>
            <a:ext cx="1438" cy="503238"/>
          </a:xfrm>
          <a:prstGeom prst="line">
            <a:avLst/>
          </a:prstGeom>
          <a:ln w="38100" cap="flat" cmpd="sng" algn="ctr">
            <a:solidFill>
              <a:schemeClr val="tx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 name="Straight Connector 14">
            <a:extLst>
              <a:ext uri="{FF2B5EF4-FFF2-40B4-BE49-F238E27FC236}">
                <a16:creationId xmlns:a16="http://schemas.microsoft.com/office/drawing/2014/main" id="{7ED61D90-D670-49D5-2745-6DE611146EE7}"/>
              </a:ext>
            </a:extLst>
          </p:cNvPr>
          <p:cNvCxnSpPr>
            <a:cxnSpLocks/>
            <a:endCxn id="12" idx="0"/>
          </p:cNvCxnSpPr>
          <p:nvPr/>
        </p:nvCxnSpPr>
        <p:spPr>
          <a:xfrm>
            <a:off x="2649028" y="4569874"/>
            <a:ext cx="5032" cy="740809"/>
          </a:xfrm>
          <a:prstGeom prst="line">
            <a:avLst/>
          </a:prstGeom>
          <a:ln w="38100" cap="flat" cmpd="sng" algn="ctr">
            <a:solidFill>
              <a:schemeClr val="tx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id="{999A206B-41B0-9033-78A0-3E8A5F6CAF4A}"/>
              </a:ext>
            </a:extLst>
          </p:cNvPr>
          <p:cNvCxnSpPr/>
          <p:nvPr/>
        </p:nvCxnSpPr>
        <p:spPr>
          <a:xfrm flipH="1">
            <a:off x="6138758" y="3637556"/>
            <a:ext cx="1438" cy="503238"/>
          </a:xfrm>
          <a:prstGeom prst="line">
            <a:avLst/>
          </a:prstGeom>
          <a:ln w="38100" cap="flat" cmpd="sng" algn="ctr">
            <a:solidFill>
              <a:schemeClr val="tx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4291975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Logo, company name&#10;&#10;Description automatically generated">
            <a:extLst>
              <a:ext uri="{FF2B5EF4-FFF2-40B4-BE49-F238E27FC236}">
                <a16:creationId xmlns:a16="http://schemas.microsoft.com/office/drawing/2014/main" id="{42BB88FA-3DF4-4CB2-A3AA-8A2012223DDE}"/>
              </a:ext>
            </a:extLst>
          </p:cNvPr>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609512" y="685800"/>
            <a:ext cx="3429176" cy="965250"/>
          </a:xfrm>
        </p:spPr>
      </p:pic>
      <p:sp>
        <p:nvSpPr>
          <p:cNvPr id="7" name="Slide Number Placeholder 6">
            <a:extLst>
              <a:ext uri="{FF2B5EF4-FFF2-40B4-BE49-F238E27FC236}">
                <a16:creationId xmlns:a16="http://schemas.microsoft.com/office/drawing/2014/main" id="{101B9F6D-6FBE-4D6D-AC9D-D342B6BC812A}"/>
              </a:ext>
            </a:extLst>
          </p:cNvPr>
          <p:cNvSpPr>
            <a:spLocks noGrp="1"/>
          </p:cNvSpPr>
          <p:nvPr>
            <p:ph type="sldNum" sz="quarter" idx="12"/>
          </p:nvPr>
        </p:nvSpPr>
        <p:spPr/>
        <p:txBody>
          <a:bodyPr/>
          <a:lstStyle/>
          <a:p>
            <a:fld id="{B1F560D5-53A7-4969-B8DF-E1F637D39903}" type="slidenum">
              <a:rPr lang="en-CA" smtClean="0"/>
              <a:t>34</a:t>
            </a:fld>
            <a:endParaRPr lang="en-CA"/>
          </a:p>
        </p:txBody>
      </p:sp>
      <p:pic>
        <p:nvPicPr>
          <p:cNvPr id="11" name="Picture 10" descr="Text&#10;&#10;Description automatically generated with low confidence">
            <a:extLst>
              <a:ext uri="{FF2B5EF4-FFF2-40B4-BE49-F238E27FC236}">
                <a16:creationId xmlns:a16="http://schemas.microsoft.com/office/drawing/2014/main" id="{B93F707F-E408-4AAB-A58E-26DF587326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19600" y="773137"/>
            <a:ext cx="4286250" cy="2924175"/>
          </a:xfrm>
          <a:prstGeom prst="rect">
            <a:avLst/>
          </a:prstGeom>
        </p:spPr>
      </p:pic>
      <p:pic>
        <p:nvPicPr>
          <p:cNvPr id="13" name="Picture 12" descr="Diagram&#10;&#10;Description automatically generated">
            <a:extLst>
              <a:ext uri="{FF2B5EF4-FFF2-40B4-BE49-F238E27FC236}">
                <a16:creationId xmlns:a16="http://schemas.microsoft.com/office/drawing/2014/main" id="{C2DC19BF-D1A3-45FA-B5CE-53DABBD782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0512" y="1872040"/>
            <a:ext cx="3048176" cy="2153996"/>
          </a:xfrm>
          <a:prstGeom prst="rect">
            <a:avLst/>
          </a:prstGeom>
        </p:spPr>
      </p:pic>
      <p:pic>
        <p:nvPicPr>
          <p:cNvPr id="15" name="Picture 14" descr="Diagram&#10;&#10;Description automatically generated">
            <a:extLst>
              <a:ext uri="{FF2B5EF4-FFF2-40B4-BE49-F238E27FC236}">
                <a16:creationId xmlns:a16="http://schemas.microsoft.com/office/drawing/2014/main" id="{E13E40B4-A764-46E6-AB17-80123D71061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7168" y="3952203"/>
            <a:ext cx="3712432" cy="2129612"/>
          </a:xfrm>
          <a:prstGeom prst="rect">
            <a:avLst/>
          </a:prstGeom>
        </p:spPr>
      </p:pic>
      <p:pic>
        <p:nvPicPr>
          <p:cNvPr id="2050" name="Picture 2" descr="Simulation modeling as a decision support tool – Focus Group">
            <a:extLst>
              <a:ext uri="{FF2B5EF4-FFF2-40B4-BE49-F238E27FC236}">
                <a16:creationId xmlns:a16="http://schemas.microsoft.com/office/drawing/2014/main" id="{0689749E-0099-4D2B-BA95-055236B329C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49548" y="3983364"/>
            <a:ext cx="4050182" cy="2129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36954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21A8A-A9B9-6673-2083-B98129BBF227}"/>
              </a:ext>
            </a:extLst>
          </p:cNvPr>
          <p:cNvSpPr>
            <a:spLocks noGrp="1"/>
          </p:cNvSpPr>
          <p:nvPr>
            <p:ph type="title"/>
          </p:nvPr>
        </p:nvSpPr>
        <p:spPr>
          <a:xfrm>
            <a:off x="304800" y="201878"/>
            <a:ext cx="1905000" cy="6154479"/>
          </a:xfrm>
        </p:spPr>
        <p:txBody>
          <a:bodyPr>
            <a:normAutofit/>
          </a:bodyPr>
          <a:lstStyle/>
          <a:p>
            <a:r>
              <a:rPr lang="en-US" sz="1800" dirty="0"/>
              <a:t>Another take on Systems Thinking.</a:t>
            </a:r>
            <a:br>
              <a:rPr lang="en-US" sz="1800" dirty="0"/>
            </a:br>
            <a:br>
              <a:rPr lang="en-US" sz="1800" dirty="0"/>
            </a:br>
            <a:r>
              <a:rPr lang="en-US" sz="1800" dirty="0"/>
              <a:t>Sometimes organizations and individuals need help integrating Triple and Double loop learning with Good PDSA (are we doing things right?)</a:t>
            </a:r>
          </a:p>
        </p:txBody>
      </p:sp>
      <p:pic>
        <p:nvPicPr>
          <p:cNvPr id="9" name="Content Placeholder 8" descr="A picture containing text, screenshot, circle, font&#10;&#10;Description automatically generated">
            <a:extLst>
              <a:ext uri="{FF2B5EF4-FFF2-40B4-BE49-F238E27FC236}">
                <a16:creationId xmlns:a16="http://schemas.microsoft.com/office/drawing/2014/main" id="{5F2ED315-9BAD-2409-0C07-68B7594121B0}"/>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2438399" y="609600"/>
            <a:ext cx="6603813" cy="5339035"/>
          </a:xfrm>
        </p:spPr>
      </p:pic>
      <p:sp>
        <p:nvSpPr>
          <p:cNvPr id="7" name="Slide Number Placeholder 6">
            <a:extLst>
              <a:ext uri="{FF2B5EF4-FFF2-40B4-BE49-F238E27FC236}">
                <a16:creationId xmlns:a16="http://schemas.microsoft.com/office/drawing/2014/main" id="{5657C9AD-1C00-CC0A-CBFD-DB2CE7CB08B8}"/>
              </a:ext>
            </a:extLst>
          </p:cNvPr>
          <p:cNvSpPr>
            <a:spLocks noGrp="1"/>
          </p:cNvSpPr>
          <p:nvPr>
            <p:ph type="sldNum" sz="quarter" idx="12"/>
          </p:nvPr>
        </p:nvSpPr>
        <p:spPr/>
        <p:txBody>
          <a:bodyPr/>
          <a:lstStyle/>
          <a:p>
            <a:fld id="{B1F560D5-53A7-4969-B8DF-E1F637D39903}" type="slidenum">
              <a:rPr lang="en-CA" smtClean="0"/>
              <a:t>35</a:t>
            </a:fld>
            <a:endParaRPr lang="en-CA"/>
          </a:p>
        </p:txBody>
      </p:sp>
    </p:spTree>
    <p:extLst>
      <p:ext uri="{BB962C8B-B14F-4D97-AF65-F5344CB8AC3E}">
        <p14:creationId xmlns:p14="http://schemas.microsoft.com/office/powerpoint/2010/main" val="20818712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C7226-FA40-6FDF-B9C2-D8E2D7FBF4F4}"/>
              </a:ext>
            </a:extLst>
          </p:cNvPr>
          <p:cNvSpPr>
            <a:spLocks noGrp="1"/>
          </p:cNvSpPr>
          <p:nvPr>
            <p:ph type="title"/>
          </p:nvPr>
        </p:nvSpPr>
        <p:spPr>
          <a:xfrm>
            <a:off x="651408" y="99218"/>
            <a:ext cx="7886700" cy="1325563"/>
          </a:xfrm>
        </p:spPr>
        <p:txBody>
          <a:bodyPr/>
          <a:lstStyle/>
          <a:p>
            <a:r>
              <a:rPr lang="en-US" dirty="0"/>
              <a:t>Moving from Big Data to Operational Analytics</a:t>
            </a:r>
          </a:p>
        </p:txBody>
      </p:sp>
      <p:sp>
        <p:nvSpPr>
          <p:cNvPr id="3" name="Text Placeholder 2">
            <a:extLst>
              <a:ext uri="{FF2B5EF4-FFF2-40B4-BE49-F238E27FC236}">
                <a16:creationId xmlns:a16="http://schemas.microsoft.com/office/drawing/2014/main" id="{E3AB8DBF-6296-17FC-4490-B094F10B9A31}"/>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ABEF2E60-269D-2529-4A98-FBD0C638E33D}"/>
              </a:ext>
            </a:extLst>
          </p:cNvPr>
          <p:cNvSpPr>
            <a:spLocks noGrp="1"/>
          </p:cNvSpPr>
          <p:nvPr>
            <p:ph type="body" sz="quarter" idx="3"/>
          </p:nvPr>
        </p:nvSpPr>
        <p:spPr/>
        <p:txBody>
          <a:bodyPr/>
          <a:lstStyle/>
          <a:p>
            <a:endParaRPr lang="en-US"/>
          </a:p>
        </p:txBody>
      </p:sp>
      <p:pic>
        <p:nvPicPr>
          <p:cNvPr id="11" name="Content Placeholder 10" descr="A diagram of data analytics&#10;&#10;Description automatically generated with low confidence">
            <a:extLst>
              <a:ext uri="{FF2B5EF4-FFF2-40B4-BE49-F238E27FC236}">
                <a16:creationId xmlns:a16="http://schemas.microsoft.com/office/drawing/2014/main" id="{57198A1D-9D3D-9A70-113A-8E7EA935C702}"/>
              </a:ext>
            </a:extLst>
          </p:cNvPr>
          <p:cNvPicPr>
            <a:picLocks noGrp="1" noChangeAspect="1"/>
          </p:cNvPicPr>
          <p:nvPr>
            <p:ph sz="quarter" idx="4"/>
          </p:nvPr>
        </p:nvPicPr>
        <p:blipFill>
          <a:blip r:embed="rId2">
            <a:extLst>
              <a:ext uri="{28A0092B-C50C-407E-A947-70E740481C1C}">
                <a14:useLocalDpi xmlns:a14="http://schemas.microsoft.com/office/drawing/2010/main" val="0"/>
              </a:ext>
            </a:extLst>
          </a:blip>
          <a:stretch>
            <a:fillRect/>
          </a:stretch>
        </p:blipFill>
        <p:spPr>
          <a:xfrm>
            <a:off x="498872" y="1334621"/>
            <a:ext cx="7907718" cy="4761379"/>
          </a:xfrm>
        </p:spPr>
      </p:pic>
      <p:sp>
        <p:nvSpPr>
          <p:cNvPr id="7" name="Slide Number Placeholder 6">
            <a:extLst>
              <a:ext uri="{FF2B5EF4-FFF2-40B4-BE49-F238E27FC236}">
                <a16:creationId xmlns:a16="http://schemas.microsoft.com/office/drawing/2014/main" id="{4B39568D-A297-680D-185A-A579C57D0BFF}"/>
              </a:ext>
            </a:extLst>
          </p:cNvPr>
          <p:cNvSpPr>
            <a:spLocks noGrp="1"/>
          </p:cNvSpPr>
          <p:nvPr>
            <p:ph type="sldNum" sz="quarter" idx="12"/>
          </p:nvPr>
        </p:nvSpPr>
        <p:spPr/>
        <p:txBody>
          <a:bodyPr/>
          <a:lstStyle/>
          <a:p>
            <a:fld id="{B1F560D5-53A7-4969-B8DF-E1F637D39903}" type="slidenum">
              <a:rPr lang="en-CA" smtClean="0"/>
              <a:t>36</a:t>
            </a:fld>
            <a:endParaRPr lang="en-CA"/>
          </a:p>
        </p:txBody>
      </p:sp>
      <p:sp>
        <p:nvSpPr>
          <p:cNvPr id="4" name="Rectangle 3">
            <a:extLst>
              <a:ext uri="{FF2B5EF4-FFF2-40B4-BE49-F238E27FC236}">
                <a16:creationId xmlns:a16="http://schemas.microsoft.com/office/drawing/2014/main" id="{09954609-305F-1F26-9A82-FF42A3A19734}"/>
              </a:ext>
            </a:extLst>
          </p:cNvPr>
          <p:cNvSpPr/>
          <p:nvPr/>
        </p:nvSpPr>
        <p:spPr>
          <a:xfrm>
            <a:off x="228601" y="4510088"/>
            <a:ext cx="1371600" cy="82391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Unknown, Unmeasured, Unthought about Data </a:t>
            </a:r>
          </a:p>
        </p:txBody>
      </p:sp>
      <p:sp>
        <p:nvSpPr>
          <p:cNvPr id="6" name="Rectangle 5">
            <a:extLst>
              <a:ext uri="{FF2B5EF4-FFF2-40B4-BE49-F238E27FC236}">
                <a16:creationId xmlns:a16="http://schemas.microsoft.com/office/drawing/2014/main" id="{BE358754-8903-933D-22ED-991C79BA17FD}"/>
              </a:ext>
            </a:extLst>
          </p:cNvPr>
          <p:cNvSpPr/>
          <p:nvPr/>
        </p:nvSpPr>
        <p:spPr>
          <a:xfrm>
            <a:off x="2514600" y="4572000"/>
            <a:ext cx="914400" cy="5520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Identify and figure out how to get</a:t>
            </a:r>
          </a:p>
        </p:txBody>
      </p:sp>
    </p:spTree>
    <p:extLst>
      <p:ext uri="{BB962C8B-B14F-4D97-AF65-F5344CB8AC3E}">
        <p14:creationId xmlns:p14="http://schemas.microsoft.com/office/powerpoint/2010/main" val="32390350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sz="half" idx="1"/>
          </p:nvPr>
        </p:nvSpPr>
        <p:spPr>
          <a:xfrm>
            <a:off x="152400" y="5867626"/>
            <a:ext cx="4724400" cy="944563"/>
          </a:xfrm>
          <a:ln>
            <a:solidFill>
              <a:schemeClr val="bg1">
                <a:lumMod val="50000"/>
              </a:schemeClr>
            </a:solidFill>
          </a:ln>
        </p:spPr>
        <p:txBody>
          <a:bodyPr>
            <a:noAutofit/>
          </a:bodyPr>
          <a:lstStyle/>
          <a:p>
            <a:r>
              <a:rPr lang="en-US" sz="1400" dirty="0"/>
              <a:t> the current state process in many  large organizations splits data and analytics</a:t>
            </a:r>
          </a:p>
          <a:p>
            <a:r>
              <a:rPr lang="en-US" sz="1400" dirty="0"/>
              <a:t>Data are stored in a common place, and are trusted and available</a:t>
            </a:r>
          </a:p>
        </p:txBody>
      </p:sp>
      <p:sp>
        <p:nvSpPr>
          <p:cNvPr id="12" name="Content Placeholder 11"/>
          <p:cNvSpPr>
            <a:spLocks noGrp="1"/>
          </p:cNvSpPr>
          <p:nvPr>
            <p:ph sz="half" idx="2"/>
          </p:nvPr>
        </p:nvSpPr>
        <p:spPr>
          <a:xfrm>
            <a:off x="5329773" y="724537"/>
            <a:ext cx="3672417" cy="6030912"/>
          </a:xfrm>
          <a:ln>
            <a:solidFill>
              <a:schemeClr val="bg1">
                <a:lumMod val="50000"/>
              </a:schemeClr>
            </a:solidFill>
          </a:ln>
        </p:spPr>
        <p:txBody>
          <a:bodyPr>
            <a:normAutofit fontScale="62500" lnSpcReduction="20000"/>
          </a:bodyPr>
          <a:lstStyle/>
          <a:p>
            <a:pPr lvl="1">
              <a:spcBef>
                <a:spcPts val="600"/>
              </a:spcBef>
            </a:pPr>
            <a:endParaRPr lang="en-US" sz="1600" dirty="0"/>
          </a:p>
          <a:p>
            <a:pPr>
              <a:spcBef>
                <a:spcPts val="600"/>
              </a:spcBef>
            </a:pPr>
            <a:r>
              <a:rPr lang="en-US" sz="2000" b="1" dirty="0"/>
              <a:t>“Above the line” analyst role</a:t>
            </a:r>
          </a:p>
          <a:p>
            <a:pPr marL="800100" lvl="1" indent="-342900">
              <a:spcBef>
                <a:spcPts val="600"/>
              </a:spcBef>
              <a:buFont typeface="+mj-lt"/>
              <a:buAutoNum type="arabicPeriod"/>
            </a:pPr>
            <a:r>
              <a:rPr lang="en-US" sz="1600" dirty="0"/>
              <a:t> What are the fundamental Questions that have to be answered?</a:t>
            </a:r>
          </a:p>
          <a:p>
            <a:pPr marL="800100" lvl="1" indent="-342900">
              <a:spcBef>
                <a:spcPts val="600"/>
              </a:spcBef>
              <a:buFont typeface="+mj-lt"/>
              <a:buAutoNum type="arabicPeriod"/>
            </a:pPr>
            <a:r>
              <a:rPr lang="en-US" sz="1600" dirty="0"/>
              <a:t> What data elements do those questions require?</a:t>
            </a:r>
          </a:p>
          <a:p>
            <a:pPr marL="800100" lvl="1" indent="-342900">
              <a:spcBef>
                <a:spcPts val="600"/>
              </a:spcBef>
              <a:buFont typeface="+mj-lt"/>
              <a:buAutoNum type="arabicPeriod"/>
            </a:pPr>
            <a:r>
              <a:rPr lang="en-US" sz="1600" dirty="0"/>
              <a:t> Organize the data and facts and then export to your analytics app.</a:t>
            </a:r>
          </a:p>
          <a:p>
            <a:pPr marL="800100" lvl="1" indent="-342900">
              <a:spcBef>
                <a:spcPts val="600"/>
              </a:spcBef>
              <a:buFont typeface="+mj-lt"/>
              <a:buAutoNum type="arabicPeriod"/>
            </a:pPr>
            <a:r>
              <a:rPr lang="en-US" sz="1600" dirty="0"/>
              <a:t>Extract features from data through integration and manipulation of data that move us closer to answers. (torture the data)</a:t>
            </a:r>
          </a:p>
          <a:p>
            <a:pPr marL="800100" lvl="1" indent="-342900">
              <a:spcBef>
                <a:spcPts val="600"/>
              </a:spcBef>
              <a:buFont typeface="+mj-lt"/>
              <a:buAutoNum type="arabicPeriod"/>
            </a:pPr>
            <a:r>
              <a:rPr lang="en-US" sz="1600" dirty="0"/>
              <a:t>Apply business acumen to data &amp; analyses – create new knowledge</a:t>
            </a:r>
          </a:p>
          <a:p>
            <a:pPr marL="800100" lvl="1" indent="-342900">
              <a:spcBef>
                <a:spcPts val="600"/>
              </a:spcBef>
              <a:buFont typeface="+mj-lt"/>
              <a:buAutoNum type="arabicPeriod"/>
            </a:pPr>
            <a:r>
              <a:rPr lang="en-US" sz="1600" dirty="0"/>
              <a:t>Apply data visualization techniques to aid in telling the right story – as in life, so in business: the best story wins …</a:t>
            </a:r>
          </a:p>
          <a:p>
            <a:pPr lvl="1">
              <a:spcBef>
                <a:spcPts val="600"/>
              </a:spcBef>
            </a:pPr>
            <a:endParaRPr lang="en-US" sz="1600" dirty="0"/>
          </a:p>
          <a:p>
            <a:r>
              <a:rPr lang="en-US" sz="2000" b="1" dirty="0"/>
              <a:t>Foundational data role</a:t>
            </a:r>
          </a:p>
          <a:p>
            <a:pPr marL="800100" lvl="1" indent="-342900">
              <a:spcBef>
                <a:spcPts val="600"/>
              </a:spcBef>
              <a:buFont typeface="+mj-lt"/>
              <a:buAutoNum type="arabicPeriod"/>
            </a:pPr>
            <a:endParaRPr lang="en-US" sz="1600" dirty="0"/>
          </a:p>
          <a:p>
            <a:pPr marL="800100" lvl="1" indent="-342900">
              <a:spcBef>
                <a:spcPts val="600"/>
              </a:spcBef>
              <a:buFont typeface="+mj-lt"/>
              <a:buAutoNum type="arabicPeriod"/>
            </a:pPr>
            <a:r>
              <a:rPr lang="en-US" sz="1600" dirty="0"/>
              <a:t>What do we need to know in order to achieve the performance objectives—what are the questions we have to answer?</a:t>
            </a:r>
          </a:p>
          <a:p>
            <a:pPr marL="800100" lvl="1" indent="-342900">
              <a:spcBef>
                <a:spcPts val="600"/>
              </a:spcBef>
              <a:buFont typeface="+mj-lt"/>
              <a:buAutoNum type="arabicPeriod"/>
            </a:pPr>
            <a:r>
              <a:rPr lang="en-US" sz="1600" dirty="0"/>
              <a:t>Architect/Create the Measurement and Analytics Plan (Data Model included)</a:t>
            </a:r>
          </a:p>
          <a:p>
            <a:pPr marL="800100" lvl="1" indent="-342900">
              <a:spcBef>
                <a:spcPts val="600"/>
              </a:spcBef>
              <a:buFont typeface="+mj-lt"/>
              <a:buAutoNum type="arabicPeriod"/>
            </a:pPr>
            <a:r>
              <a:rPr lang="en-US" sz="1600" dirty="0"/>
              <a:t>Select and gather data from many sources, preferably through automated extract, transfer, &amp; load (ET&amp;L) process</a:t>
            </a:r>
          </a:p>
          <a:p>
            <a:pPr marL="800100" lvl="1" indent="-342900">
              <a:spcBef>
                <a:spcPts val="600"/>
              </a:spcBef>
              <a:buFont typeface="+mj-lt"/>
              <a:buAutoNum type="arabicPeriod"/>
            </a:pPr>
            <a:r>
              <a:rPr lang="en-US" sz="1600" dirty="0"/>
              <a:t>Create (observation, interviews, etc.) any data elements that don’t exist (ISE Measurement)</a:t>
            </a:r>
          </a:p>
          <a:p>
            <a:pPr marL="800100" lvl="1" indent="-342900">
              <a:spcBef>
                <a:spcPts val="600"/>
              </a:spcBef>
              <a:buFont typeface="+mj-lt"/>
              <a:buAutoNum type="arabicPeriod"/>
            </a:pPr>
            <a:r>
              <a:rPr lang="en-US" sz="1600" dirty="0"/>
              <a:t>Assure data are cleaned &amp; ready for analysts or you to use – data quality monitors</a:t>
            </a:r>
          </a:p>
          <a:p>
            <a:pPr marL="800100" lvl="1" indent="-342900">
              <a:spcBef>
                <a:spcPts val="600"/>
              </a:spcBef>
              <a:buFont typeface="+mj-lt"/>
              <a:buAutoNum type="arabicPeriod"/>
            </a:pPr>
            <a:r>
              <a:rPr lang="en-US" sz="1600" dirty="0"/>
              <a:t>Assure data are integrated &amp; can be joined with other data – think LEGOs</a:t>
            </a:r>
          </a:p>
          <a:p>
            <a:pPr marL="800100" lvl="1" indent="-342900">
              <a:spcBef>
                <a:spcPts val="600"/>
              </a:spcBef>
              <a:buFont typeface="+mj-lt"/>
              <a:buAutoNum type="arabicPeriod"/>
            </a:pPr>
            <a:r>
              <a:rPr lang="en-US" sz="1600" dirty="0"/>
              <a:t>Assure data storage is high reliability &amp; user-friendly – SSAS cubes, databases</a:t>
            </a:r>
          </a:p>
          <a:p>
            <a:pPr marL="800100" lvl="1" indent="-342900">
              <a:spcBef>
                <a:spcPts val="600"/>
              </a:spcBef>
              <a:buFont typeface="+mj-lt"/>
              <a:buAutoNum type="arabicPeriod"/>
            </a:pPr>
            <a:r>
              <a:rPr lang="en-US" sz="1600" dirty="0"/>
              <a:t>Integration and organization of foundational data elements as well as derivative data and other key metrics of interest</a:t>
            </a:r>
          </a:p>
          <a:p>
            <a:pPr>
              <a:spcBef>
                <a:spcPts val="600"/>
              </a:spcBef>
            </a:pPr>
            <a:endParaRPr lang="en-US" sz="2000" dirty="0"/>
          </a:p>
        </p:txBody>
      </p:sp>
      <p:pic>
        <p:nvPicPr>
          <p:cNvPr id="1026" name="Picture 2"/>
          <p:cNvPicPr>
            <a:picLocks noChangeAspect="1" noChangeArrowheads="1"/>
          </p:cNvPicPr>
          <p:nvPr/>
        </p:nvPicPr>
        <p:blipFill>
          <a:blip r:embed="rId3" cstate="print"/>
          <a:srcRect/>
          <a:stretch>
            <a:fillRect/>
          </a:stretch>
        </p:blipFill>
        <p:spPr bwMode="auto">
          <a:xfrm>
            <a:off x="152401" y="1208661"/>
            <a:ext cx="4044200" cy="3134965"/>
          </a:xfrm>
          <a:prstGeom prst="rect">
            <a:avLst/>
          </a:prstGeom>
          <a:noFill/>
          <a:ln w="9525">
            <a:noFill/>
            <a:miter lim="800000"/>
            <a:headEnd/>
            <a:tailEnd/>
          </a:ln>
        </p:spPr>
      </p:pic>
      <p:sp>
        <p:nvSpPr>
          <p:cNvPr id="2050" name="AutoShape 2" descr="data:image/jpeg;base64,/9j/4AAQSkZJRgABAQAAAQABAAD/2wCEAAkGBwgHBgkIBwgKCgkLDRYPDQwMDRsUFRAWIB0iIiAdHx8kKDQsJCYxJx8fLT0tMTU3Ojo6Iys/RD84QzQ5OjcBCgoKDQwNGg8PGjclHyU3Nzc3Nzc3Nzc3Nzc3Nzc3Nzc3Nzc3Nzc3Nzc3Nzc3Nzc3Nzc3Nzc3Nzc3Nzc3Nzc3N//AABEIAFoAWgMBIgACEQEDEQH/xAAbAAADAQEBAQEAAAAAAAAAAAADBAYCAAEFB//EAD0QAAICAQMDAgMGAwMNAQAAAAECAwQRAAUSEyExFEEiUWEjMkKBkaEVcbEkUmIzQ1RydIKSlaSytNLxFv/EABQBAQAAAAAAAAAAAAAAAAAAAAD/xAAUEQEAAAAAAAAAAAAAAAAAAAAA/9oADAMBAAIRAxEAPwD9Qu27SXZlSe83K2K8MNZYO32IkJJkH+t7/LQZLl9GiB/jR6snTXi1I98E/wBAdEsHG7ZGDjcmP/RaRjTEqWIS0LM0DrDVgT45DE2T3wMYJ/TQfQilvPKqPNusSk4Lu9LC/U4yf20CG3dIRBa3OxIeoxMIqqqqshUfeA+Xtro4FjniNui6xvIqEvShwSxwMkMT5Oh1zHCjgoOHRkRUWMN5sEABT2+WgY9Rf/vbv/x0dZN2yjEWLG7QgRPIGb0jZ4jJHwgnOkrEBgrtasbfVjtw0LzoJK6fhdOmSASPGD59/bTFqNay20hMLDozxScayxkERhuxH8xoDQWNxW3K0VmzdSG0EauegrGMwK2fC9w7D38a8M915EiNzcq8nWjVlmWs2VfPcFVI/CdZTr9ZjEJp5oAqPNHUiypKA4yWB+6w/XStSErHUjrW2dCtLoSvGAQmHxkeM4/roGvUbjaomelbvqweMosxqfax8xz44HY8c45Y741u1PZSDC7lfScxdTg6124gMqkHihGfi9tB6VeW40leh12mpwsJUrREg8n7kMR51r0s/BkWnaRHxz6VWBCwBzjIbQbt2biVtwkiu7igrRylJpRW4O6DwAF5efoPGqbUfucEkm23ktZhaWO3Yigmro5VQe5zk4J5A/8AzVhoJbdy81ueOX+H9EWhHHHLtj2XeTohi3wuO/EkePAxnWqaTm5W6nOVzZViY9vkrxxosTKPvE/P5/LtrV4mO9LMssaPHuWVV0ZupmqBgBe/gk/loFYP6+g8Unwra4SKJZwe8bkAq57jxoFqsE8UFO3M0E9yeGpFVd6DtHXHM9y3Pu3x+cr4HbRisjQydBy7RhUNhqzpGZTZycKT3AOewbx7++vIo5a89hlV2pcaMkIgEskeOtJyKg578QuceBjWkkV0UBo5o45neM9GwB/lCwyAMEg/uNAOaKSxBbf08DXpaO4wu1WHh1mWRVHbJOTj5nudHsHqpuL9C6HZpjEvo5Pj5RKo9u3cHWBjpqrBS0YtWZrLpPCkStIG4g9s9j8/weNcVdGlWYRoUmMShbFly5Chs4B+ugYj5xWZZOlMyxbipkEaFiB6NR4HfyRpfbYLteLZoNysQIVSDKx7bIrEqpwhk5lQQc+R/XWIxFzl6YXly+14+rzy4j73148fPtjRJFSvYhewjBop4HVo5JnyH5D7jEnPb5aAHKZIqhUVZK716MU8M8JfmrzlOx5AAjlnuD7a70cK8Ehh2uFM2XkksUTMfhn4qBh1wMH6+2tyLK1OGujxAxPARKac/JlikDgHt74P66LdcyxuYI+LLVk5HoyJHzaVG/EB5OT+ugUeuFiut6OBJYKN6GaetUMMbd044yT7KfxHwdW+pHc3sj1KM0AhO33iywFsGQGPJIPv3P6nVdoJTdfTev5XLBrwruvxSeoMOP7H2+IEY741iSZJ0mszT7Ua/UjAlj3h04OFIA5hPJB+emLPVj3K30Z7Yee6IlSGRFUYrqxJ5A+ynQXsvuFrn6idjHPHHAlexGVDmNiWLYPfGe2gxUWvwjWtIktdJI4W9Jv08hjDEKO2B/UeNewqqLFHJJbMUYcBY7UiElrBXJIOWPf30R3lewIZbFzlDLUlw8sbo6vKQO6qP7h/bQkaORWYMJYw7Qy9GZRJCxsnicfz/poM2CDRlS09mxXgh3FzEbTr1RHKAqswOSOOR3z51qxd9PPdimt7JBdeRynLdCrQlo1HccPOAD+Y0GZDHtl1C7OVqbsOb4yfth5xp2zK8M96WJuLpLYZT8iIVxoAV7EVqxHXbcqrS3L3NkoXyW4LWx3ZeJ+8gP6azDfq4gsPudWxHF6NZraTq0ZYB8nlnHfP7jR5dxaS1DJ6qlPFHYEyE20UhDAUK4+fNifz/LXqS0608SxSVXgihgEY9agKmPkMH59iP56BY2oJJbLpZgMEQVnsf/oJhGC7EKMgYByB2+o1iafb5YXjbcoDMeJiji3yScueQ7cDjI/XTFVzdr0pLtqxJGY69yZnnjWJTz5L7dwGT5647sjOlr1kMo/tEBMVhBIuZwFKg+ew0Ab08LS3q6zRmdKe4s8YYclBZMEjyNWeo7c5ni2y61smV447deGeawillJ7jGBkjio/LVjoJ6WF5dxndMcYb5dyWAwDUC/1YaTpdZpqfCG5JBUihkWKt0FjZjGR8XMhs9/Y/L661uFOKfc5wtSjJNPf6RksVRKeIqhgB3Huo/fXTh2eVbUcGJBApqtT632nAnsOQAxg/poPIdteFHCw7yWZIERy9PMawszKB3x5Y5yDo4jvAkg70Ce57UO/7a+ctSjYl6bUNtkhK0Z4nSisbYklYEEd/ZB+p1qOtt9WBgu0bfIFLNj0iljmwVwPyPbQMLVuxTV+jFuyoi2DJLypl3aWRXwQTxx2PgD217Ogiq2VsRbj1pIrEolsGAhiY8EHpn5AY7aWO3UaMc8p2yJKyvJMxl2lWKKSWPfl4GT7eBos8ENaO9DXiSKJXtcUjUKo+xXwBoHYi8u4oldJjXhIjsh0hES/Y8hj8ecsn07nXz6RYUKKrLZRVpVFSKrFASzOp7kyL/hHuNN+lkNzhcgry0rdxfs54A+cVR8YJOB3THj56FSSwdt26asJJ6sDQYHpOEkkYX4Tnl3858fPQEFa4Jnl5b2S0axkH0GOKkkdsfU68mSWCxH1dwuxoYGlZTFVLqQyqB2Qj8WlF26OOMpX2yrYkgeFpI7G2KJHiaTDNy5d2Chz/ADHjTIoReoDQbXBF8eUJ2hcp37d+Xt89AKxwiq7rVaa/ODWturWUg6ZZcciOChgct79vP01YakbMFj0VyWTEgjrbiryKvEZLLjtk+wP6artBMbjIsNyWYzGN03L4FFWSfqE1QMcU7+CTn6aW21643GCGtHN1GtrI6ptk8CRgROMsXGBn6n5acskjdcjsRuTf+FpOK8jQRv6mB1sxQnMk8sTlwnzVe/z86DVFJJKNNPV0YphDTZj6Ry/HmekCeXf4g4+mT4zrbyGQqzJGjYUMI1wpItAEgfUjP56DDLXW3xE1ZXPoYI60LOxVElcgksAe/Ij/AHT317FKkpk6ZJ6b8WPE4B9X4zoBWkVau5ygfHLV3Tm3u3GUBc/yHYaelSSTcJljMXe1NyEkRkBXopkcQQTpe16YtYpC2hMkF+NpAjFY3klUhTj3Hf8AQ6J6tDanmhkjyLTkLLzTkrRqMghSfI0Hm2mH+I1VgoJ95gX/AIRPX6Q4N3Dv2HsuP8Wlduhrtt23RV6daOVUggnjuUJEdXK9z8XHI7HwPY99N0YoZGPOeSYz3DEFivzkQAQc8dyCT8OfH49CrA24aHqHkZpIqJdxIQxOHOeQOc6DNpKNRIrEsVErOFCSRbPPIDlsKCVJxknsD89arpDLYOadVKyJyllm2meHHxABRzIyTk+M4xrILDbY1Wr0YWn2+SLFmSUYNlRj4uwIwPHz1udUkglEhsPIzzyczakwOFjiBxzjGD+2gDuFWD01iDop0Y6+4ukePhDB0wcfPuf11a6kNw+7b/2Xcv8AuTVfoJi3PVTc7HWu1YGgumVklmCsVNUIMD+bfsdArbmgjqMLW1zRRxRPGJdxEbRuE4nsFPzPvqu12gjorgkMDWrWzic+nWxYXdORYROW7LwA8s3y8/TXptUjKtd9zqSLGrTJGt4Rxs/WLLyI/L2OrDXaCJq7gJK8bLfoJixbMsI3Ppd2mypDBckY5ew+9o/rl/0yj/z9/wD01X67QSBuwes9Xz2nq8+pj+Ntx58Onnjwxnj21ja5IY4aq29y2lHgWsn2d0OGEYYE9wPOfGrLXaCJrz0m2+iFuVJgojlZJ93aIK6sGUcQD2BAP7a6O0eoOtNsjx8ZgVG7YzzlDj/N+2NW2u0EXbsVzRszTbhtolNW6DFDbDkmQqVA7DPZfl5+erTXa7Qf/9k="/>
          <p:cNvSpPr>
            <a:spLocks noChangeAspect="1" noChangeArrowheads="1"/>
          </p:cNvSpPr>
          <p:nvPr/>
        </p:nvSpPr>
        <p:spPr bwMode="auto">
          <a:xfrm>
            <a:off x="63501" y="-411163"/>
            <a:ext cx="857250" cy="857251"/>
          </a:xfrm>
          <a:prstGeom prst="rect">
            <a:avLst/>
          </a:prstGeom>
          <a:noFill/>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sz="1800">
              <a:solidFill>
                <a:prstClr val="black"/>
              </a:solidFill>
              <a:latin typeface="Calibri"/>
            </a:endParaRPr>
          </a:p>
        </p:txBody>
      </p:sp>
      <p:sp>
        <p:nvSpPr>
          <p:cNvPr id="2052" name="AutoShape 4" descr="data:image/jpeg;base64,/9j/4AAQSkZJRgABAQAAAQABAAD/2wCEAAkGBwgHBgkIBwgKCgkLDRYPDQwMDRsUFRAWIB0iIiAdHx8kKDQsJCYxJx8fLT0tMTU3Ojo6Iys/RD84QzQ5OjcBCgoKDQwNGg8PGjclHyU3Nzc3Nzc3Nzc3Nzc3Nzc3Nzc3Nzc3Nzc3Nzc3Nzc3Nzc3Nzc3Nzc3Nzc3Nzc3Nzc3N//AABEIAFoAWgMBIgACEQEDEQH/xAAbAAADAQEBAQEAAAAAAAAAAAADBAYCAAEFB//EAD0QAAICAQMDAgMGAwMNAQAAAAECAwQRAAUSEyExFEEiUWEjMkKBkaEVcbEkUmIzQ1RydIKSlaSytNLxFv/EABQBAQAAAAAAAAAAAAAAAAAAAAD/xAAUEQEAAAAAAAAAAAAAAAAAAAAA/9oADAMBAAIRAxEAPwD9Qu27SXZlSe83K2K8MNZYO32IkJJkH+t7/LQZLl9GiB/jR6snTXi1I98E/wBAdEsHG7ZGDjcmP/RaRjTEqWIS0LM0DrDVgT45DE2T3wMYJ/TQfQilvPKqPNusSk4Lu9LC/U4yf20CG3dIRBa3OxIeoxMIqqqqshUfeA+Xtro4FjniNui6xvIqEvShwSxwMkMT5Oh1zHCjgoOHRkRUWMN5sEABT2+WgY9Rf/vbv/x0dZN2yjEWLG7QgRPIGb0jZ4jJHwgnOkrEBgrtasbfVjtw0LzoJK6fhdOmSASPGD59/bTFqNay20hMLDozxScayxkERhuxH8xoDQWNxW3K0VmzdSG0EauegrGMwK2fC9w7D38a8M915EiNzcq8nWjVlmWs2VfPcFVI/CdZTr9ZjEJp5oAqPNHUiypKA4yWB+6w/XStSErHUjrW2dCtLoSvGAQmHxkeM4/roGvUbjaomelbvqweMosxqfax8xz44HY8c45Y741u1PZSDC7lfScxdTg6124gMqkHihGfi9tB6VeW40leh12mpwsJUrREg8n7kMR51r0s/BkWnaRHxz6VWBCwBzjIbQbt2biVtwkiu7igrRylJpRW4O6DwAF5efoPGqbUfucEkm23ktZhaWO3Yigmro5VQe5zk4J5A/8AzVhoJbdy81ueOX+H9EWhHHHLtj2XeTohi3wuO/EkePAxnWqaTm5W6nOVzZViY9vkrxxosTKPvE/P5/LtrV4mO9LMssaPHuWVV0ZupmqBgBe/gk/loFYP6+g8Unwra4SKJZwe8bkAq57jxoFqsE8UFO3M0E9yeGpFVd6DtHXHM9y3Pu3x+cr4HbRisjQydBy7RhUNhqzpGZTZycKT3AOewbx7++vIo5a89hlV2pcaMkIgEskeOtJyKg578QuceBjWkkV0UBo5o45neM9GwB/lCwyAMEg/uNAOaKSxBbf08DXpaO4wu1WHh1mWRVHbJOTj5nudHsHqpuL9C6HZpjEvo5Pj5RKo9u3cHWBjpqrBS0YtWZrLpPCkStIG4g9s9j8/weNcVdGlWYRoUmMShbFly5Chs4B+ugYj5xWZZOlMyxbipkEaFiB6NR4HfyRpfbYLteLZoNysQIVSDKx7bIrEqpwhk5lQQc+R/XWIxFzl6YXly+14+rzy4j73148fPtjRJFSvYhewjBop4HVo5JnyH5D7jEnPb5aAHKZIqhUVZK716MU8M8JfmrzlOx5AAjlnuD7a70cK8Ehh2uFM2XkksUTMfhn4qBh1wMH6+2tyLK1OGujxAxPARKac/JlikDgHt74P66LdcyxuYI+LLVk5HoyJHzaVG/EB5OT+ugUeuFiut6OBJYKN6GaetUMMbd044yT7KfxHwdW+pHc3sj1KM0AhO33iywFsGQGPJIPv3P6nVdoJTdfTev5XLBrwruvxSeoMOP7H2+IEY741iSZJ0mszT7Ua/UjAlj3h04OFIA5hPJB+emLPVj3K30Z7Yee6IlSGRFUYrqxJ5A+ynQXsvuFrn6idjHPHHAlexGVDmNiWLYPfGe2gxUWvwjWtIktdJI4W9Jv08hjDEKO2B/UeNewqqLFHJJbMUYcBY7UiElrBXJIOWPf30R3lewIZbFzlDLUlw8sbo6vKQO6qP7h/bQkaORWYMJYw7Qy9GZRJCxsnicfz/poM2CDRlS09mxXgh3FzEbTr1RHKAqswOSOOR3z51qxd9PPdimt7JBdeRynLdCrQlo1HccPOAD+Y0GZDHtl1C7OVqbsOb4yfth5xp2zK8M96WJuLpLYZT8iIVxoAV7EVqxHXbcqrS3L3NkoXyW4LWx3ZeJ+8gP6azDfq4gsPudWxHF6NZraTq0ZYB8nlnHfP7jR5dxaS1DJ6qlPFHYEyE20UhDAUK4+fNifz/LXqS0608SxSVXgihgEY9agKmPkMH59iP56BY2oJJbLpZgMEQVnsf/oJhGC7EKMgYByB2+o1iafb5YXjbcoDMeJiji3yScueQ7cDjI/XTFVzdr0pLtqxJGY69yZnnjWJTz5L7dwGT5647sjOlr1kMo/tEBMVhBIuZwFKg+ew0Ab08LS3q6zRmdKe4s8YYclBZMEjyNWeo7c5ni2y61smV447deGeawillJ7jGBkjio/LVjoJ6WF5dxndMcYb5dyWAwDUC/1YaTpdZpqfCG5JBUihkWKt0FjZjGR8XMhs9/Y/L661uFOKfc5wtSjJNPf6RksVRKeIqhgB3Huo/fXTh2eVbUcGJBApqtT632nAnsOQAxg/poPIdteFHCw7yWZIERy9PMawszKB3x5Y5yDo4jvAkg70Ce57UO/7a+ctSjYl6bUNtkhK0Z4nSisbYklYEEd/ZB+p1qOtt9WBgu0bfIFLNj0iljmwVwPyPbQMLVuxTV+jFuyoi2DJLypl3aWRXwQTxx2PgD217Ogiq2VsRbj1pIrEolsGAhiY8EHpn5AY7aWO3UaMc8p2yJKyvJMxl2lWKKSWPfl4GT7eBos8ENaO9DXiSKJXtcUjUKo+xXwBoHYi8u4oldJjXhIjsh0hES/Y8hj8ecsn07nXz6RYUKKrLZRVpVFSKrFASzOp7kyL/hHuNN+lkNzhcgry0rdxfs54A+cVR8YJOB3THj56FSSwdt26asJJ6sDQYHpOEkkYX4Tnl3858fPQEFa4Jnl5b2S0axkH0GOKkkdsfU68mSWCxH1dwuxoYGlZTFVLqQyqB2Qj8WlF26OOMpX2yrYkgeFpI7G2KJHiaTDNy5d2Chz/ADHjTIoReoDQbXBF8eUJ2hcp37d+Xt89AKxwiq7rVaa/ODWturWUg6ZZcciOChgct79vP01YakbMFj0VyWTEgjrbiryKvEZLLjtk+wP6artBMbjIsNyWYzGN03L4FFWSfqE1QMcU7+CTn6aW21643GCGtHN1GtrI6ptk8CRgROMsXGBn6n5acskjdcjsRuTf+FpOK8jQRv6mB1sxQnMk8sTlwnzVe/z86DVFJJKNNPV0YphDTZj6Ry/HmekCeXf4g4+mT4zrbyGQqzJGjYUMI1wpItAEgfUjP56DDLXW3xE1ZXPoYI60LOxVElcgksAe/Ij/AHT317FKkpk6ZJ6b8WPE4B9X4zoBWkVau5ygfHLV3Tm3u3GUBc/yHYaelSSTcJljMXe1NyEkRkBXopkcQQTpe16YtYpC2hMkF+NpAjFY3klUhTj3Hf8AQ6J6tDanmhkjyLTkLLzTkrRqMghSfI0Hm2mH+I1VgoJ95gX/AIRPX6Q4N3Dv2HsuP8Wlduhrtt23RV6daOVUggnjuUJEdXK9z8XHI7HwPY99N0YoZGPOeSYz3DEFivzkQAQc8dyCT8OfH49CrA24aHqHkZpIqJdxIQxOHOeQOc6DNpKNRIrEsVErOFCSRbPPIDlsKCVJxknsD89arpDLYOadVKyJyllm2meHHxABRzIyTk+M4xrILDbY1Wr0YWn2+SLFmSUYNlRj4uwIwPHz1udUkglEhsPIzzyczakwOFjiBxzjGD+2gDuFWD01iDop0Y6+4ukePhDB0wcfPuf11a6kNw+7b/2Xcv8AuTVfoJi3PVTc7HWu1YGgumVklmCsVNUIMD+bfsdArbmgjqMLW1zRRxRPGJdxEbRuE4nsFPzPvqu12gjorgkMDWrWzic+nWxYXdORYROW7LwA8s3y8/TXptUjKtd9zqSLGrTJGt4Rxs/WLLyI/L2OrDXaCJq7gJK8bLfoJixbMsI3Ppd2mypDBckY5ew+9o/rl/0yj/z9/wD01X67QSBuwes9Xz2nq8+pj+Ntx58Onnjwxnj21ja5IY4aq29y2lHgWsn2d0OGEYYE9wPOfGrLXaCJrz0m2+iFuVJgojlZJ93aIK6sGUcQD2BAP7a6O0eoOtNsjx8ZgVG7YzzlDj/N+2NW2u0EXbsVzRszTbhtolNW6DFDbDkmQqVA7DPZfl5+erTXa7Qf/9k="/>
          <p:cNvSpPr>
            <a:spLocks noChangeAspect="1" noChangeArrowheads="1"/>
          </p:cNvSpPr>
          <p:nvPr/>
        </p:nvSpPr>
        <p:spPr bwMode="auto">
          <a:xfrm>
            <a:off x="63501" y="-411163"/>
            <a:ext cx="857250" cy="857251"/>
          </a:xfrm>
          <a:prstGeom prst="rect">
            <a:avLst/>
          </a:prstGeom>
          <a:noFill/>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sz="1800">
              <a:solidFill>
                <a:prstClr val="black"/>
              </a:solidFill>
              <a:latin typeface="Calibri"/>
            </a:endParaRPr>
          </a:p>
        </p:txBody>
      </p:sp>
      <p:cxnSp>
        <p:nvCxnSpPr>
          <p:cNvPr id="9" name="Straight Connector 8"/>
          <p:cNvCxnSpPr/>
          <p:nvPr/>
        </p:nvCxnSpPr>
        <p:spPr>
          <a:xfrm>
            <a:off x="762000" y="2986239"/>
            <a:ext cx="28956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505200" y="2706083"/>
            <a:ext cx="0" cy="533400"/>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14" name="Content Placeholder 10"/>
          <p:cNvSpPr txBox="1">
            <a:spLocks/>
          </p:cNvSpPr>
          <p:nvPr/>
        </p:nvSpPr>
        <p:spPr>
          <a:xfrm>
            <a:off x="177800" y="4496026"/>
            <a:ext cx="4698999" cy="1173163"/>
          </a:xfrm>
          <a:prstGeom prst="rect">
            <a:avLst/>
          </a:prstGeom>
          <a:ln>
            <a:solidFill>
              <a:schemeClr val="bg1">
                <a:lumMod val="50000"/>
              </a:schemeClr>
            </a:solidFill>
          </a:ln>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fontAlgn="auto">
              <a:spcAft>
                <a:spcPts val="0"/>
              </a:spcAft>
            </a:pPr>
            <a:r>
              <a:rPr lang="en-US" sz="1600" dirty="0"/>
              <a:t> Most ISE/ILSS Process Improvement Projects require that the ISE/Belt do both roles, certification requires that</a:t>
            </a:r>
          </a:p>
          <a:p>
            <a:pPr fontAlgn="auto">
              <a:spcAft>
                <a:spcPts val="0"/>
              </a:spcAft>
            </a:pPr>
            <a:r>
              <a:rPr lang="en-US" sz="1600" dirty="0"/>
              <a:t>Data is almost never stored in a common place and are not trusted nor available</a:t>
            </a:r>
          </a:p>
        </p:txBody>
      </p:sp>
      <p:pic>
        <p:nvPicPr>
          <p:cNvPr id="30722" name="Picture 2" descr="See the source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18918" y="2426639"/>
            <a:ext cx="1494367" cy="1119199"/>
          </a:xfrm>
          <a:prstGeom prst="rect">
            <a:avLst/>
          </a:prstGeom>
          <a:noFill/>
          <a:extLst>
            <a:ext uri="{909E8E84-426E-40DD-AFC4-6F175D3DCCD1}">
              <a14:hiddenFill xmlns:a14="http://schemas.microsoft.com/office/drawing/2010/main">
                <a:solidFill>
                  <a:srgbClr val="FFFFFF"/>
                </a:solidFill>
              </a14:hiddenFill>
            </a:ext>
          </a:extLst>
        </p:spPr>
      </p:pic>
      <p:sp>
        <p:nvSpPr>
          <p:cNvPr id="4" name="Right Arrow 3"/>
          <p:cNvSpPr/>
          <p:nvPr/>
        </p:nvSpPr>
        <p:spPr>
          <a:xfrm rot="16200000">
            <a:off x="4325038" y="5426872"/>
            <a:ext cx="489203"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77801" y="153037"/>
            <a:ext cx="4923368" cy="685800"/>
          </a:xfrm>
        </p:spPr>
        <p:txBody>
          <a:bodyPr>
            <a:noAutofit/>
          </a:bodyPr>
          <a:lstStyle/>
          <a:p>
            <a:r>
              <a:rPr lang="en-US" sz="2400" dirty="0"/>
              <a:t>Introducing the OA Triangle Model</a:t>
            </a:r>
          </a:p>
        </p:txBody>
      </p:sp>
      <p:sp>
        <p:nvSpPr>
          <p:cNvPr id="3" name="Rectangle 2">
            <a:extLst>
              <a:ext uri="{FF2B5EF4-FFF2-40B4-BE49-F238E27FC236}">
                <a16:creationId xmlns:a16="http://schemas.microsoft.com/office/drawing/2014/main" id="{C1764838-A0B5-4E58-B7BF-C4C82F4AC87C}"/>
              </a:ext>
            </a:extLst>
          </p:cNvPr>
          <p:cNvSpPr/>
          <p:nvPr/>
        </p:nvSpPr>
        <p:spPr>
          <a:xfrm>
            <a:off x="5329773" y="1"/>
            <a:ext cx="3636426"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The Basic Roadmap for the OA Triangle</a:t>
            </a:r>
          </a:p>
        </p:txBody>
      </p:sp>
      <p:sp>
        <p:nvSpPr>
          <p:cNvPr id="5" name="Rectangle 4">
            <a:extLst>
              <a:ext uri="{FF2B5EF4-FFF2-40B4-BE49-F238E27FC236}">
                <a16:creationId xmlns:a16="http://schemas.microsoft.com/office/drawing/2014/main" id="{7364D400-C3D8-A538-A517-DC599D21774A}"/>
              </a:ext>
            </a:extLst>
          </p:cNvPr>
          <p:cNvSpPr/>
          <p:nvPr/>
        </p:nvSpPr>
        <p:spPr>
          <a:xfrm>
            <a:off x="3599356" y="1860237"/>
            <a:ext cx="1672173" cy="413987"/>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ollow the ‘yellow-brick’ road</a:t>
            </a:r>
          </a:p>
        </p:txBody>
      </p:sp>
    </p:spTree>
    <p:extLst>
      <p:ext uri="{BB962C8B-B14F-4D97-AF65-F5344CB8AC3E}">
        <p14:creationId xmlns:p14="http://schemas.microsoft.com/office/powerpoint/2010/main" val="22213383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sz="half" idx="1"/>
          </p:nvPr>
        </p:nvSpPr>
        <p:spPr>
          <a:xfrm>
            <a:off x="152400" y="5867626"/>
            <a:ext cx="4724400" cy="944563"/>
          </a:xfrm>
          <a:ln>
            <a:solidFill>
              <a:schemeClr val="bg1">
                <a:lumMod val="50000"/>
              </a:schemeClr>
            </a:solidFill>
          </a:ln>
        </p:spPr>
        <p:txBody>
          <a:bodyPr>
            <a:noAutofit/>
          </a:bodyPr>
          <a:lstStyle/>
          <a:p>
            <a:r>
              <a:rPr lang="en-US" sz="1400" dirty="0"/>
              <a:t> the current state process in many  large organizations splits data and analytics</a:t>
            </a:r>
          </a:p>
          <a:p>
            <a:r>
              <a:rPr lang="en-US" sz="1400" dirty="0"/>
              <a:t>Data are stored in a common place, and are trusted and available</a:t>
            </a:r>
          </a:p>
        </p:txBody>
      </p:sp>
      <p:sp>
        <p:nvSpPr>
          <p:cNvPr id="12" name="Content Placeholder 11"/>
          <p:cNvSpPr>
            <a:spLocks noGrp="1"/>
          </p:cNvSpPr>
          <p:nvPr>
            <p:ph sz="half" idx="2"/>
          </p:nvPr>
        </p:nvSpPr>
        <p:spPr>
          <a:xfrm>
            <a:off x="5329773" y="724537"/>
            <a:ext cx="3672417" cy="6030912"/>
          </a:xfrm>
          <a:ln>
            <a:solidFill>
              <a:schemeClr val="bg1">
                <a:lumMod val="50000"/>
              </a:schemeClr>
            </a:solidFill>
          </a:ln>
        </p:spPr>
        <p:txBody>
          <a:bodyPr>
            <a:normAutofit fontScale="85000" lnSpcReduction="20000"/>
          </a:bodyPr>
          <a:lstStyle/>
          <a:p>
            <a:pPr marL="457200" lvl="1" indent="0">
              <a:spcBef>
                <a:spcPts val="600"/>
              </a:spcBef>
              <a:buNone/>
            </a:pPr>
            <a:endParaRPr lang="en-US" sz="1600" dirty="0"/>
          </a:p>
          <a:p>
            <a:r>
              <a:rPr lang="en-US" sz="2000" b="1" dirty="0"/>
              <a:t>Foundational data role</a:t>
            </a:r>
          </a:p>
          <a:p>
            <a:pPr marL="800100" lvl="1" indent="-342900">
              <a:spcBef>
                <a:spcPts val="600"/>
              </a:spcBef>
              <a:buFont typeface="+mj-lt"/>
              <a:buAutoNum type="arabicPeriod"/>
            </a:pPr>
            <a:endParaRPr lang="en-US" sz="1600" dirty="0"/>
          </a:p>
          <a:p>
            <a:pPr marL="800100" lvl="1" indent="-342900">
              <a:spcBef>
                <a:spcPts val="600"/>
              </a:spcBef>
              <a:buFont typeface="+mj-lt"/>
              <a:buAutoNum type="arabicPeriod"/>
            </a:pPr>
            <a:r>
              <a:rPr lang="en-US" sz="1600" dirty="0"/>
              <a:t>What do we need to know in order to achieve the performance objectives—what are the questions we have to answer?</a:t>
            </a:r>
          </a:p>
          <a:p>
            <a:pPr marL="800100" lvl="1" indent="-342900">
              <a:spcBef>
                <a:spcPts val="600"/>
              </a:spcBef>
              <a:buFont typeface="+mj-lt"/>
              <a:buAutoNum type="arabicPeriod"/>
            </a:pPr>
            <a:r>
              <a:rPr lang="en-US" sz="1600" dirty="0"/>
              <a:t>Architect/Create the Measurement and Analytics Plan (Data Model included)</a:t>
            </a:r>
          </a:p>
          <a:p>
            <a:pPr marL="800100" lvl="1" indent="-342900">
              <a:spcBef>
                <a:spcPts val="600"/>
              </a:spcBef>
              <a:buFont typeface="+mj-lt"/>
              <a:buAutoNum type="arabicPeriod"/>
            </a:pPr>
            <a:r>
              <a:rPr lang="en-US" sz="1600" dirty="0"/>
              <a:t>Select and gather data from many sources, preferably through automated extract, transfer, &amp; load (ET&amp;L) process</a:t>
            </a:r>
          </a:p>
          <a:p>
            <a:pPr marL="800100" lvl="1" indent="-342900">
              <a:spcBef>
                <a:spcPts val="600"/>
              </a:spcBef>
              <a:buFont typeface="+mj-lt"/>
              <a:buAutoNum type="arabicPeriod"/>
            </a:pPr>
            <a:r>
              <a:rPr lang="en-US" sz="1600" dirty="0"/>
              <a:t>Create (observation, interviews, etc.) any data elements that don’t exist (ISE Measurement)</a:t>
            </a:r>
          </a:p>
          <a:p>
            <a:pPr marL="800100" lvl="1" indent="-342900">
              <a:spcBef>
                <a:spcPts val="600"/>
              </a:spcBef>
              <a:buFont typeface="+mj-lt"/>
              <a:buAutoNum type="arabicPeriod"/>
            </a:pPr>
            <a:r>
              <a:rPr lang="en-US" sz="1600" dirty="0"/>
              <a:t>Assure data are cleaned &amp; ready for analysts or you to use – data quality monitors</a:t>
            </a:r>
          </a:p>
          <a:p>
            <a:pPr marL="800100" lvl="1" indent="-342900">
              <a:spcBef>
                <a:spcPts val="600"/>
              </a:spcBef>
              <a:buFont typeface="+mj-lt"/>
              <a:buAutoNum type="arabicPeriod"/>
            </a:pPr>
            <a:r>
              <a:rPr lang="en-US" sz="1600" dirty="0"/>
              <a:t>Assure data are integrated &amp; can be joined with other data – think LEGOs</a:t>
            </a:r>
          </a:p>
          <a:p>
            <a:pPr marL="800100" lvl="1" indent="-342900">
              <a:spcBef>
                <a:spcPts val="600"/>
              </a:spcBef>
              <a:buFont typeface="+mj-lt"/>
              <a:buAutoNum type="arabicPeriod"/>
            </a:pPr>
            <a:r>
              <a:rPr lang="en-US" sz="1600" dirty="0"/>
              <a:t>Assure data storage is high reliability &amp; user-friendly – SSAS cubes, databases</a:t>
            </a:r>
          </a:p>
          <a:p>
            <a:pPr marL="800100" lvl="1" indent="-342900">
              <a:spcBef>
                <a:spcPts val="600"/>
              </a:spcBef>
              <a:buFont typeface="+mj-lt"/>
              <a:buAutoNum type="arabicPeriod"/>
            </a:pPr>
            <a:r>
              <a:rPr lang="en-US" sz="1600" dirty="0"/>
              <a:t>Integration and organization of foundational data elements as well as derivative data and other key metrics of interest</a:t>
            </a:r>
          </a:p>
          <a:p>
            <a:pPr>
              <a:spcBef>
                <a:spcPts val="600"/>
              </a:spcBef>
            </a:pPr>
            <a:endParaRPr lang="en-US" sz="2000" dirty="0"/>
          </a:p>
        </p:txBody>
      </p:sp>
      <p:pic>
        <p:nvPicPr>
          <p:cNvPr id="1026" name="Picture 2"/>
          <p:cNvPicPr>
            <a:picLocks noChangeAspect="1" noChangeArrowheads="1"/>
          </p:cNvPicPr>
          <p:nvPr/>
        </p:nvPicPr>
        <p:blipFill>
          <a:blip r:embed="rId3" cstate="print"/>
          <a:srcRect/>
          <a:stretch>
            <a:fillRect/>
          </a:stretch>
        </p:blipFill>
        <p:spPr bwMode="auto">
          <a:xfrm>
            <a:off x="152401" y="1208661"/>
            <a:ext cx="4044200" cy="3134965"/>
          </a:xfrm>
          <a:prstGeom prst="rect">
            <a:avLst/>
          </a:prstGeom>
          <a:noFill/>
          <a:ln w="9525">
            <a:noFill/>
            <a:miter lim="800000"/>
            <a:headEnd/>
            <a:tailEnd/>
          </a:ln>
        </p:spPr>
      </p:pic>
      <p:sp>
        <p:nvSpPr>
          <p:cNvPr id="2050" name="AutoShape 2" descr="data:image/jpeg;base64,/9j/4AAQSkZJRgABAQAAAQABAAD/2wCEAAkGBwgHBgkIBwgKCgkLDRYPDQwMDRsUFRAWIB0iIiAdHx8kKDQsJCYxJx8fLT0tMTU3Ojo6Iys/RD84QzQ5OjcBCgoKDQwNGg8PGjclHyU3Nzc3Nzc3Nzc3Nzc3Nzc3Nzc3Nzc3Nzc3Nzc3Nzc3Nzc3Nzc3Nzc3Nzc3Nzc3Nzc3N//AABEIAFoAWgMBIgACEQEDEQH/xAAbAAADAQEBAQEAAAAAAAAAAAADBAYCAAEFB//EAD0QAAICAQMDAgMGAwMNAQAAAAECAwQRAAUSEyExFEEiUWEjMkKBkaEVcbEkUmIzQ1RydIKSlaSytNLxFv/EABQBAQAAAAAAAAAAAAAAAAAAAAD/xAAUEQEAAAAAAAAAAAAAAAAAAAAA/9oADAMBAAIRAxEAPwD9Qu27SXZlSe83K2K8MNZYO32IkJJkH+t7/LQZLl9GiB/jR6snTXi1I98E/wBAdEsHG7ZGDjcmP/RaRjTEqWIS0LM0DrDVgT45DE2T3wMYJ/TQfQilvPKqPNusSk4Lu9LC/U4yf20CG3dIRBa3OxIeoxMIqqqqshUfeA+Xtro4FjniNui6xvIqEvShwSxwMkMT5Oh1zHCjgoOHRkRUWMN5sEABT2+WgY9Rf/vbv/x0dZN2yjEWLG7QgRPIGb0jZ4jJHwgnOkrEBgrtasbfVjtw0LzoJK6fhdOmSASPGD59/bTFqNay20hMLDozxScayxkERhuxH8xoDQWNxW3K0VmzdSG0EauegrGMwK2fC9w7D38a8M915EiNzcq8nWjVlmWs2VfPcFVI/CdZTr9ZjEJp5oAqPNHUiypKA4yWB+6w/XStSErHUjrW2dCtLoSvGAQmHxkeM4/roGvUbjaomelbvqweMosxqfax8xz44HY8c45Y741u1PZSDC7lfScxdTg6124gMqkHihGfi9tB6VeW40leh12mpwsJUrREg8n7kMR51r0s/BkWnaRHxz6VWBCwBzjIbQbt2biVtwkiu7igrRylJpRW4O6DwAF5efoPGqbUfucEkm23ktZhaWO3Yigmro5VQe5zk4J5A/8AzVhoJbdy81ueOX+H9EWhHHHLtj2XeTohi3wuO/EkePAxnWqaTm5W6nOVzZViY9vkrxxosTKPvE/P5/LtrV4mO9LMssaPHuWVV0ZupmqBgBe/gk/loFYP6+g8Unwra4SKJZwe8bkAq57jxoFqsE8UFO3M0E9yeGpFVd6DtHXHM9y3Pu3x+cr4HbRisjQydBy7RhUNhqzpGZTZycKT3AOewbx7++vIo5a89hlV2pcaMkIgEskeOtJyKg578QuceBjWkkV0UBo5o45neM9GwB/lCwyAMEg/uNAOaKSxBbf08DXpaO4wu1WHh1mWRVHbJOTj5nudHsHqpuL9C6HZpjEvo5Pj5RKo9u3cHWBjpqrBS0YtWZrLpPCkStIG4g9s9j8/weNcVdGlWYRoUmMShbFly5Chs4B+ugYj5xWZZOlMyxbipkEaFiB6NR4HfyRpfbYLteLZoNysQIVSDKx7bIrEqpwhk5lQQc+R/XWIxFzl6YXly+14+rzy4j73148fPtjRJFSvYhewjBop4HVo5JnyH5D7jEnPb5aAHKZIqhUVZK716MU8M8JfmrzlOx5AAjlnuD7a70cK8Ehh2uFM2XkksUTMfhn4qBh1wMH6+2tyLK1OGujxAxPARKac/JlikDgHt74P66LdcyxuYI+LLVk5HoyJHzaVG/EB5OT+ugUeuFiut6OBJYKN6GaetUMMbd044yT7KfxHwdW+pHc3sj1KM0AhO33iywFsGQGPJIPv3P6nVdoJTdfTev5XLBrwruvxSeoMOP7H2+IEY741iSZJ0mszT7Ua/UjAlj3h04OFIA5hPJB+emLPVj3K30Z7Yee6IlSGRFUYrqxJ5A+ynQXsvuFrn6idjHPHHAlexGVDmNiWLYPfGe2gxUWvwjWtIktdJI4W9Jv08hjDEKO2B/UeNewqqLFHJJbMUYcBY7UiElrBXJIOWPf30R3lewIZbFzlDLUlw8sbo6vKQO6qP7h/bQkaORWYMJYw7Qy9GZRJCxsnicfz/poM2CDRlS09mxXgh3FzEbTr1RHKAqswOSOOR3z51qxd9PPdimt7JBdeRynLdCrQlo1HccPOAD+Y0GZDHtl1C7OVqbsOb4yfth5xp2zK8M96WJuLpLYZT8iIVxoAV7EVqxHXbcqrS3L3NkoXyW4LWx3ZeJ+8gP6azDfq4gsPudWxHF6NZraTq0ZYB8nlnHfP7jR5dxaS1DJ6qlPFHYEyE20UhDAUK4+fNifz/LXqS0608SxSVXgihgEY9agKmPkMH59iP56BY2oJJbLpZgMEQVnsf/oJhGC7EKMgYByB2+o1iafb5YXjbcoDMeJiji3yScueQ7cDjI/XTFVzdr0pLtqxJGY69yZnnjWJTz5L7dwGT5647sjOlr1kMo/tEBMVhBIuZwFKg+ew0Ab08LS3q6zRmdKe4s8YYclBZMEjyNWeo7c5ni2y61smV447deGeawillJ7jGBkjio/LVjoJ6WF5dxndMcYb5dyWAwDUC/1YaTpdZpqfCG5JBUihkWKt0FjZjGR8XMhs9/Y/L661uFOKfc5wtSjJNPf6RksVRKeIqhgB3Huo/fXTh2eVbUcGJBApqtT632nAnsOQAxg/poPIdteFHCw7yWZIERy9PMawszKB3x5Y5yDo4jvAkg70Ce57UO/7a+ctSjYl6bUNtkhK0Z4nSisbYklYEEd/ZB+p1qOtt9WBgu0bfIFLNj0iljmwVwPyPbQMLVuxTV+jFuyoi2DJLypl3aWRXwQTxx2PgD217Ogiq2VsRbj1pIrEolsGAhiY8EHpn5AY7aWO3UaMc8p2yJKyvJMxl2lWKKSWPfl4GT7eBos8ENaO9DXiSKJXtcUjUKo+xXwBoHYi8u4oldJjXhIjsh0hES/Y8hj8ecsn07nXz6RYUKKrLZRVpVFSKrFASzOp7kyL/hHuNN+lkNzhcgry0rdxfs54A+cVR8YJOB3THj56FSSwdt26asJJ6sDQYHpOEkkYX4Tnl3858fPQEFa4Jnl5b2S0axkH0GOKkkdsfU68mSWCxH1dwuxoYGlZTFVLqQyqB2Qj8WlF26OOMpX2yrYkgeFpI7G2KJHiaTDNy5d2Chz/ADHjTIoReoDQbXBF8eUJ2hcp37d+Xt89AKxwiq7rVaa/ODWturWUg6ZZcciOChgct79vP01YakbMFj0VyWTEgjrbiryKvEZLLjtk+wP6artBMbjIsNyWYzGN03L4FFWSfqE1QMcU7+CTn6aW21643GCGtHN1GtrI6ptk8CRgROMsXGBn6n5acskjdcjsRuTf+FpOK8jQRv6mB1sxQnMk8sTlwnzVe/z86DVFJJKNNPV0YphDTZj6Ry/HmekCeXf4g4+mT4zrbyGQqzJGjYUMI1wpItAEgfUjP56DDLXW3xE1ZXPoYI60LOxVElcgksAe/Ij/AHT317FKkpk6ZJ6b8WPE4B9X4zoBWkVau5ygfHLV3Tm3u3GUBc/yHYaelSSTcJljMXe1NyEkRkBXopkcQQTpe16YtYpC2hMkF+NpAjFY3klUhTj3Hf8AQ6J6tDanmhkjyLTkLLzTkrRqMghSfI0Hm2mH+I1VgoJ95gX/AIRPX6Q4N3Dv2HsuP8Wlduhrtt23RV6daOVUggnjuUJEdXK9z8XHI7HwPY99N0YoZGPOeSYz3DEFivzkQAQc8dyCT8OfH49CrA24aHqHkZpIqJdxIQxOHOeQOc6DNpKNRIrEsVErOFCSRbPPIDlsKCVJxknsD89arpDLYOadVKyJyllm2meHHxABRzIyTk+M4xrILDbY1Wr0YWn2+SLFmSUYNlRj4uwIwPHz1udUkglEhsPIzzyczakwOFjiBxzjGD+2gDuFWD01iDop0Y6+4ukePhDB0wcfPuf11a6kNw+7b/2Xcv8AuTVfoJi3PVTc7HWu1YGgumVklmCsVNUIMD+bfsdArbmgjqMLW1zRRxRPGJdxEbRuE4nsFPzPvqu12gjorgkMDWrWzic+nWxYXdORYROW7LwA8s3y8/TXptUjKtd9zqSLGrTJGt4Rxs/WLLyI/L2OrDXaCJq7gJK8bLfoJixbMsI3Ppd2mypDBckY5ew+9o/rl/0yj/z9/wD01X67QSBuwes9Xz2nq8+pj+Ntx58Onnjwxnj21ja5IY4aq29y2lHgWsn2d0OGEYYE9wPOfGrLXaCJrz0m2+iFuVJgojlZJ93aIK6sGUcQD2BAP7a6O0eoOtNsjx8ZgVG7YzzlDj/N+2NW2u0EXbsVzRszTbhtolNW6DFDbDkmQqVA7DPZfl5+erTXa7Qf/9k="/>
          <p:cNvSpPr>
            <a:spLocks noChangeAspect="1" noChangeArrowheads="1"/>
          </p:cNvSpPr>
          <p:nvPr/>
        </p:nvSpPr>
        <p:spPr bwMode="auto">
          <a:xfrm>
            <a:off x="63501" y="-411163"/>
            <a:ext cx="857250" cy="857251"/>
          </a:xfrm>
          <a:prstGeom prst="rect">
            <a:avLst/>
          </a:prstGeom>
          <a:noFill/>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sz="1800">
              <a:solidFill>
                <a:prstClr val="black"/>
              </a:solidFill>
              <a:latin typeface="Calibri"/>
            </a:endParaRPr>
          </a:p>
        </p:txBody>
      </p:sp>
      <p:sp>
        <p:nvSpPr>
          <p:cNvPr id="2052" name="AutoShape 4" descr="data:image/jpeg;base64,/9j/4AAQSkZJRgABAQAAAQABAAD/2wCEAAkGBwgHBgkIBwgKCgkLDRYPDQwMDRsUFRAWIB0iIiAdHx8kKDQsJCYxJx8fLT0tMTU3Ojo6Iys/RD84QzQ5OjcBCgoKDQwNGg8PGjclHyU3Nzc3Nzc3Nzc3Nzc3Nzc3Nzc3Nzc3Nzc3Nzc3Nzc3Nzc3Nzc3Nzc3Nzc3Nzc3Nzc3N//AABEIAFoAWgMBIgACEQEDEQH/xAAbAAADAQEBAQEAAAAAAAAAAAADBAYCAAEFB//EAD0QAAICAQMDAgMGAwMNAQAAAAECAwQRAAUSEyExFEEiUWEjMkKBkaEVcbEkUmIzQ1RydIKSlaSytNLxFv/EABQBAQAAAAAAAAAAAAAAAAAAAAD/xAAUEQEAAAAAAAAAAAAAAAAAAAAA/9oADAMBAAIRAxEAPwD9Qu27SXZlSe83K2K8MNZYO32IkJJkH+t7/LQZLl9GiB/jR6snTXi1I98E/wBAdEsHG7ZGDjcmP/RaRjTEqWIS0LM0DrDVgT45DE2T3wMYJ/TQfQilvPKqPNusSk4Lu9LC/U4yf20CG3dIRBa3OxIeoxMIqqqqshUfeA+Xtro4FjniNui6xvIqEvShwSxwMkMT5Oh1zHCjgoOHRkRUWMN5sEABT2+WgY9Rf/vbv/x0dZN2yjEWLG7QgRPIGb0jZ4jJHwgnOkrEBgrtasbfVjtw0LzoJK6fhdOmSASPGD59/bTFqNay20hMLDozxScayxkERhuxH8xoDQWNxW3K0VmzdSG0EauegrGMwK2fC9w7D38a8M915EiNzcq8nWjVlmWs2VfPcFVI/CdZTr9ZjEJp5oAqPNHUiypKA4yWB+6w/XStSErHUjrW2dCtLoSvGAQmHxkeM4/roGvUbjaomelbvqweMosxqfax8xz44HY8c45Y741u1PZSDC7lfScxdTg6124gMqkHihGfi9tB6VeW40leh12mpwsJUrREg8n7kMR51r0s/BkWnaRHxz6VWBCwBzjIbQbt2biVtwkiu7igrRylJpRW4O6DwAF5efoPGqbUfucEkm23ktZhaWO3Yigmro5VQe5zk4J5A/8AzVhoJbdy81ueOX+H9EWhHHHLtj2XeTohi3wuO/EkePAxnWqaTm5W6nOVzZViY9vkrxxosTKPvE/P5/LtrV4mO9LMssaPHuWVV0ZupmqBgBe/gk/loFYP6+g8Unwra4SKJZwe8bkAq57jxoFqsE8UFO3M0E9yeGpFVd6DtHXHM9y3Pu3x+cr4HbRisjQydBy7RhUNhqzpGZTZycKT3AOewbx7++vIo5a89hlV2pcaMkIgEskeOtJyKg578QuceBjWkkV0UBo5o45neM9GwB/lCwyAMEg/uNAOaKSxBbf08DXpaO4wu1WHh1mWRVHbJOTj5nudHsHqpuL9C6HZpjEvo5Pj5RKo9u3cHWBjpqrBS0YtWZrLpPCkStIG4g9s9j8/weNcVdGlWYRoUmMShbFly5Chs4B+ugYj5xWZZOlMyxbipkEaFiB6NR4HfyRpfbYLteLZoNysQIVSDKx7bIrEqpwhk5lQQc+R/XWIxFzl6YXly+14+rzy4j73148fPtjRJFSvYhewjBop4HVo5JnyH5D7jEnPb5aAHKZIqhUVZK716MU8M8JfmrzlOx5AAjlnuD7a70cK8Ehh2uFM2XkksUTMfhn4qBh1wMH6+2tyLK1OGujxAxPARKac/JlikDgHt74P66LdcyxuYI+LLVk5HoyJHzaVG/EB5OT+ugUeuFiut6OBJYKN6GaetUMMbd044yT7KfxHwdW+pHc3sj1KM0AhO33iywFsGQGPJIPv3P6nVdoJTdfTev5XLBrwruvxSeoMOP7H2+IEY741iSZJ0mszT7Ua/UjAlj3h04OFIA5hPJB+emLPVj3K30Z7Yee6IlSGRFUYrqxJ5A+ynQXsvuFrn6idjHPHHAlexGVDmNiWLYPfGe2gxUWvwjWtIktdJI4W9Jv08hjDEKO2B/UeNewqqLFHJJbMUYcBY7UiElrBXJIOWPf30R3lewIZbFzlDLUlw8sbo6vKQO6qP7h/bQkaORWYMJYw7Qy9GZRJCxsnicfz/poM2CDRlS09mxXgh3FzEbTr1RHKAqswOSOOR3z51qxd9PPdimt7JBdeRynLdCrQlo1HccPOAD+Y0GZDHtl1C7OVqbsOb4yfth5xp2zK8M96WJuLpLYZT8iIVxoAV7EVqxHXbcqrS3L3NkoXyW4LWx3ZeJ+8gP6azDfq4gsPudWxHF6NZraTq0ZYB8nlnHfP7jR5dxaS1DJ6qlPFHYEyE20UhDAUK4+fNifz/LXqS0608SxSVXgihgEY9agKmPkMH59iP56BY2oJJbLpZgMEQVnsf/oJhGC7EKMgYByB2+o1iafb5YXjbcoDMeJiji3yScueQ7cDjI/XTFVzdr0pLtqxJGY69yZnnjWJTz5L7dwGT5647sjOlr1kMo/tEBMVhBIuZwFKg+ew0Ab08LS3q6zRmdKe4s8YYclBZMEjyNWeo7c5ni2y61smV447deGeawillJ7jGBkjio/LVjoJ6WF5dxndMcYb5dyWAwDUC/1YaTpdZpqfCG5JBUihkWKt0FjZjGR8XMhs9/Y/L661uFOKfc5wtSjJNPf6RksVRKeIqhgB3Huo/fXTh2eVbUcGJBApqtT632nAnsOQAxg/poPIdteFHCw7yWZIERy9PMawszKB3x5Y5yDo4jvAkg70Ce57UO/7a+ctSjYl6bUNtkhK0Z4nSisbYklYEEd/ZB+p1qOtt9WBgu0bfIFLNj0iljmwVwPyPbQMLVuxTV+jFuyoi2DJLypl3aWRXwQTxx2PgD217Ogiq2VsRbj1pIrEolsGAhiY8EHpn5AY7aWO3UaMc8p2yJKyvJMxl2lWKKSWPfl4GT7eBos8ENaO9DXiSKJXtcUjUKo+xXwBoHYi8u4oldJjXhIjsh0hES/Y8hj8ecsn07nXz6RYUKKrLZRVpVFSKrFASzOp7kyL/hHuNN+lkNzhcgry0rdxfs54A+cVR8YJOB3THj56FSSwdt26asJJ6sDQYHpOEkkYX4Tnl3858fPQEFa4Jnl5b2S0axkH0GOKkkdsfU68mSWCxH1dwuxoYGlZTFVLqQyqB2Qj8WlF26OOMpX2yrYkgeFpI7G2KJHiaTDNy5d2Chz/ADHjTIoReoDQbXBF8eUJ2hcp37d+Xt89AKxwiq7rVaa/ODWturWUg6ZZcciOChgct79vP01YakbMFj0VyWTEgjrbiryKvEZLLjtk+wP6artBMbjIsNyWYzGN03L4FFWSfqE1QMcU7+CTn6aW21643GCGtHN1GtrI6ptk8CRgROMsXGBn6n5acskjdcjsRuTf+FpOK8jQRv6mB1sxQnMk8sTlwnzVe/z86DVFJJKNNPV0YphDTZj6Ry/HmekCeXf4g4+mT4zrbyGQqzJGjYUMI1wpItAEgfUjP56DDLXW3xE1ZXPoYI60LOxVElcgksAe/Ij/AHT317FKkpk6ZJ6b8WPE4B9X4zoBWkVau5ygfHLV3Tm3u3GUBc/yHYaelSSTcJljMXe1NyEkRkBXopkcQQTpe16YtYpC2hMkF+NpAjFY3klUhTj3Hf8AQ6J6tDanmhkjyLTkLLzTkrRqMghSfI0Hm2mH+I1VgoJ95gX/AIRPX6Q4N3Dv2HsuP8Wlduhrtt23RV6daOVUggnjuUJEdXK9z8XHI7HwPY99N0YoZGPOeSYz3DEFivzkQAQc8dyCT8OfH49CrA24aHqHkZpIqJdxIQxOHOeQOc6DNpKNRIrEsVErOFCSRbPPIDlsKCVJxknsD89arpDLYOadVKyJyllm2meHHxABRzIyTk+M4xrILDbY1Wr0YWn2+SLFmSUYNlRj4uwIwPHz1udUkglEhsPIzzyczakwOFjiBxzjGD+2gDuFWD01iDop0Y6+4ukePhDB0wcfPuf11a6kNw+7b/2Xcv8AuTVfoJi3PVTc7HWu1YGgumVklmCsVNUIMD+bfsdArbmgjqMLW1zRRxRPGJdxEbRuE4nsFPzPvqu12gjorgkMDWrWzic+nWxYXdORYROW7LwA8s3y8/TXptUjKtd9zqSLGrTJGt4Rxs/WLLyI/L2OrDXaCJq7gJK8bLfoJixbMsI3Ppd2mypDBckY5ew+9o/rl/0yj/z9/wD01X67QSBuwes9Xz2nq8+pj+Ntx58Onnjwxnj21ja5IY4aq29y2lHgWsn2d0OGEYYE9wPOfGrLXaCJrz0m2+iFuVJgojlZJ93aIK6sGUcQD2BAP7a6O0eoOtNsjx8ZgVG7YzzlDj/N+2NW2u0EXbsVzRszTbhtolNW6DFDbDkmQqVA7DPZfl5+erTXa7Qf/9k="/>
          <p:cNvSpPr>
            <a:spLocks noChangeAspect="1" noChangeArrowheads="1"/>
          </p:cNvSpPr>
          <p:nvPr/>
        </p:nvSpPr>
        <p:spPr bwMode="auto">
          <a:xfrm>
            <a:off x="63501" y="-411163"/>
            <a:ext cx="857250" cy="857251"/>
          </a:xfrm>
          <a:prstGeom prst="rect">
            <a:avLst/>
          </a:prstGeom>
          <a:noFill/>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sz="1800">
              <a:solidFill>
                <a:prstClr val="black"/>
              </a:solidFill>
              <a:latin typeface="Calibri"/>
            </a:endParaRPr>
          </a:p>
        </p:txBody>
      </p:sp>
      <p:cxnSp>
        <p:nvCxnSpPr>
          <p:cNvPr id="9" name="Straight Connector 8"/>
          <p:cNvCxnSpPr/>
          <p:nvPr/>
        </p:nvCxnSpPr>
        <p:spPr>
          <a:xfrm>
            <a:off x="762000" y="2986239"/>
            <a:ext cx="28956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505200" y="2706083"/>
            <a:ext cx="0" cy="533400"/>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14" name="Content Placeholder 10"/>
          <p:cNvSpPr txBox="1">
            <a:spLocks/>
          </p:cNvSpPr>
          <p:nvPr/>
        </p:nvSpPr>
        <p:spPr>
          <a:xfrm>
            <a:off x="177800" y="4496026"/>
            <a:ext cx="4698999" cy="1173163"/>
          </a:xfrm>
          <a:prstGeom prst="rect">
            <a:avLst/>
          </a:prstGeom>
          <a:ln>
            <a:solidFill>
              <a:schemeClr val="bg1">
                <a:lumMod val="50000"/>
              </a:schemeClr>
            </a:solidFill>
          </a:ln>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fontAlgn="auto">
              <a:spcAft>
                <a:spcPts val="0"/>
              </a:spcAft>
            </a:pPr>
            <a:r>
              <a:rPr lang="en-US" sz="1600" dirty="0"/>
              <a:t> Most ISE/ILSS Process Improvement Projects require that the ISE/Belt do both roles, certification requires that</a:t>
            </a:r>
          </a:p>
          <a:p>
            <a:pPr fontAlgn="auto">
              <a:spcAft>
                <a:spcPts val="0"/>
              </a:spcAft>
            </a:pPr>
            <a:r>
              <a:rPr lang="en-US" sz="1600" dirty="0"/>
              <a:t>Data is almost never stored in a common place and are not trusted nor available</a:t>
            </a:r>
          </a:p>
        </p:txBody>
      </p:sp>
      <p:pic>
        <p:nvPicPr>
          <p:cNvPr id="30722" name="Picture 2" descr="See the source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18918" y="2426639"/>
            <a:ext cx="1494367" cy="1119199"/>
          </a:xfrm>
          <a:prstGeom prst="rect">
            <a:avLst/>
          </a:prstGeom>
          <a:noFill/>
          <a:extLst>
            <a:ext uri="{909E8E84-426E-40DD-AFC4-6F175D3DCCD1}">
              <a14:hiddenFill xmlns:a14="http://schemas.microsoft.com/office/drawing/2010/main">
                <a:solidFill>
                  <a:srgbClr val="FFFFFF"/>
                </a:solidFill>
              </a14:hiddenFill>
            </a:ext>
          </a:extLst>
        </p:spPr>
      </p:pic>
      <p:sp>
        <p:nvSpPr>
          <p:cNvPr id="4" name="Right Arrow 3"/>
          <p:cNvSpPr/>
          <p:nvPr/>
        </p:nvSpPr>
        <p:spPr>
          <a:xfrm rot="16200000">
            <a:off x="4325038" y="5426872"/>
            <a:ext cx="489203"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77801" y="153037"/>
            <a:ext cx="4923368" cy="1143000"/>
          </a:xfrm>
        </p:spPr>
        <p:txBody>
          <a:bodyPr>
            <a:noAutofit/>
          </a:bodyPr>
          <a:lstStyle/>
          <a:p>
            <a:r>
              <a:rPr lang="en-US" sz="3600" dirty="0"/>
              <a:t>Zooming in on the Bottom Half</a:t>
            </a:r>
          </a:p>
        </p:txBody>
      </p:sp>
      <p:sp>
        <p:nvSpPr>
          <p:cNvPr id="3" name="Rectangle 2">
            <a:extLst>
              <a:ext uri="{FF2B5EF4-FFF2-40B4-BE49-F238E27FC236}">
                <a16:creationId xmlns:a16="http://schemas.microsoft.com/office/drawing/2014/main" id="{C1764838-A0B5-4E58-B7BF-C4C82F4AC87C}"/>
              </a:ext>
            </a:extLst>
          </p:cNvPr>
          <p:cNvSpPr/>
          <p:nvPr/>
        </p:nvSpPr>
        <p:spPr>
          <a:xfrm>
            <a:off x="5329773" y="1"/>
            <a:ext cx="3636426"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Basic Roadmap for the OA Triangle</a:t>
            </a:r>
          </a:p>
        </p:txBody>
      </p:sp>
      <p:sp>
        <p:nvSpPr>
          <p:cNvPr id="5" name="Rectangle 4">
            <a:extLst>
              <a:ext uri="{FF2B5EF4-FFF2-40B4-BE49-F238E27FC236}">
                <a16:creationId xmlns:a16="http://schemas.microsoft.com/office/drawing/2014/main" id="{7364D400-C3D8-A538-A517-DC599D21774A}"/>
              </a:ext>
            </a:extLst>
          </p:cNvPr>
          <p:cNvSpPr/>
          <p:nvPr/>
        </p:nvSpPr>
        <p:spPr>
          <a:xfrm>
            <a:off x="3599356" y="1860237"/>
            <a:ext cx="1672173" cy="413987"/>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ollow the ‘yellow-brick’ road</a:t>
            </a:r>
          </a:p>
        </p:txBody>
      </p:sp>
    </p:spTree>
    <p:extLst>
      <p:ext uri="{BB962C8B-B14F-4D97-AF65-F5344CB8AC3E}">
        <p14:creationId xmlns:p14="http://schemas.microsoft.com/office/powerpoint/2010/main" val="10072122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eyondplm.com/wp-content/uploads/2014/07/product-data-silos.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6717" y="2104543"/>
            <a:ext cx="9020175" cy="377904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38502FB1-9EC1-4967-BD6A-729E59D9337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147643" y="204772"/>
            <a:ext cx="1905000" cy="1240961"/>
          </a:xfrm>
          <a:prstGeom prst="rect">
            <a:avLst/>
          </a:prstGeom>
        </p:spPr>
      </p:pic>
      <p:sp>
        <p:nvSpPr>
          <p:cNvPr id="13" name="Title 1">
            <a:extLst>
              <a:ext uri="{FF2B5EF4-FFF2-40B4-BE49-F238E27FC236}">
                <a16:creationId xmlns:a16="http://schemas.microsoft.com/office/drawing/2014/main" id="{9988262A-4CE8-4497-AFAB-CDE3938AAC06}"/>
              </a:ext>
            </a:extLst>
          </p:cNvPr>
          <p:cNvSpPr>
            <a:spLocks noGrp="1"/>
          </p:cNvSpPr>
          <p:nvPr>
            <p:ph type="title"/>
          </p:nvPr>
        </p:nvSpPr>
        <p:spPr>
          <a:xfrm>
            <a:off x="76200" y="526575"/>
            <a:ext cx="7957000" cy="360045"/>
          </a:xfrm>
        </p:spPr>
        <p:txBody>
          <a:bodyPr>
            <a:normAutofit fontScale="90000"/>
          </a:bodyPr>
          <a:lstStyle/>
          <a:p>
            <a:r>
              <a:rPr lang="en-CA" dirty="0"/>
              <a:t>Data Integration – Challenges, Advice, Examples</a:t>
            </a:r>
          </a:p>
        </p:txBody>
      </p:sp>
      <p:cxnSp>
        <p:nvCxnSpPr>
          <p:cNvPr id="6" name="Straight Connector 5">
            <a:extLst>
              <a:ext uri="{FF2B5EF4-FFF2-40B4-BE49-F238E27FC236}">
                <a16:creationId xmlns:a16="http://schemas.microsoft.com/office/drawing/2014/main" id="{FE114762-D8FB-4B4F-B8EE-346D1D3214F9}"/>
              </a:ext>
            </a:extLst>
          </p:cNvPr>
          <p:cNvCxnSpPr/>
          <p:nvPr/>
        </p:nvCxnSpPr>
        <p:spPr>
          <a:xfrm flipV="1">
            <a:off x="0" y="1545430"/>
            <a:ext cx="9144000" cy="26827"/>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28359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7521D-9573-DEE0-5B51-AACECBD02228}"/>
              </a:ext>
            </a:extLst>
          </p:cNvPr>
          <p:cNvSpPr>
            <a:spLocks noGrp="1"/>
          </p:cNvSpPr>
          <p:nvPr>
            <p:ph type="title"/>
          </p:nvPr>
        </p:nvSpPr>
        <p:spPr/>
        <p:txBody>
          <a:bodyPr>
            <a:normAutofit fontScale="90000"/>
          </a:bodyPr>
          <a:lstStyle/>
          <a:p>
            <a:r>
              <a:rPr lang="en-US" dirty="0"/>
              <a:t>Example of data integration—hard work but rewards are worth it</a:t>
            </a:r>
          </a:p>
        </p:txBody>
      </p:sp>
      <p:pic>
        <p:nvPicPr>
          <p:cNvPr id="5" name="Content Placeholder 4" descr="A picture containing text, diagram, screenshot, plan&#10;&#10;Description automatically generated">
            <a:extLst>
              <a:ext uri="{FF2B5EF4-FFF2-40B4-BE49-F238E27FC236}">
                <a16:creationId xmlns:a16="http://schemas.microsoft.com/office/drawing/2014/main" id="{D23F8108-63F8-58AA-9C99-13ADFBFA048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219200"/>
            <a:ext cx="8153400" cy="5003172"/>
          </a:xfrm>
        </p:spPr>
      </p:pic>
      <p:sp>
        <p:nvSpPr>
          <p:cNvPr id="6" name="Oval 5">
            <a:extLst>
              <a:ext uri="{FF2B5EF4-FFF2-40B4-BE49-F238E27FC236}">
                <a16:creationId xmlns:a16="http://schemas.microsoft.com/office/drawing/2014/main" id="{43AE6C09-C8AF-F3E2-3329-695B17CAEC50}"/>
              </a:ext>
            </a:extLst>
          </p:cNvPr>
          <p:cNvSpPr/>
          <p:nvPr/>
        </p:nvSpPr>
        <p:spPr>
          <a:xfrm>
            <a:off x="2971800" y="4038600"/>
            <a:ext cx="2895600" cy="2057400"/>
          </a:xfrm>
          <a:prstGeom prst="ellipse">
            <a:avLst/>
          </a:prstGeom>
          <a:solidFill>
            <a:srgbClr val="C00000">
              <a:alpha val="22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2800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dirty="0"/>
              <a:t>Key points</a:t>
            </a:r>
          </a:p>
        </p:txBody>
      </p:sp>
      <p:sp>
        <p:nvSpPr>
          <p:cNvPr id="3" name="Content Placeholder 2"/>
          <p:cNvSpPr>
            <a:spLocks noGrp="1"/>
          </p:cNvSpPr>
          <p:nvPr>
            <p:ph idx="1"/>
          </p:nvPr>
        </p:nvSpPr>
        <p:spPr>
          <a:xfrm>
            <a:off x="457200" y="1600200"/>
            <a:ext cx="8229600" cy="4648200"/>
          </a:xfrm>
        </p:spPr>
        <p:txBody>
          <a:bodyPr>
            <a:normAutofit fontScale="92500" lnSpcReduction="20000"/>
          </a:bodyPr>
          <a:lstStyle/>
          <a:p>
            <a:pPr marL="457200" indent="-457200">
              <a:spcBef>
                <a:spcPts val="1200"/>
              </a:spcBef>
              <a:buFont typeface="+mj-lt"/>
              <a:buAutoNum type="arabicPeriod"/>
            </a:pPr>
            <a:r>
              <a:rPr lang="en-US" sz="2000" dirty="0"/>
              <a:t>Good analytics come from good context understanding, use case clarity, </a:t>
            </a:r>
            <a:r>
              <a:rPr lang="en-US" sz="2000" i="1" u="sng" dirty="0"/>
              <a:t>good problem statements</a:t>
            </a:r>
            <a:r>
              <a:rPr lang="en-US" sz="2000" dirty="0"/>
              <a:t>, clear understanding of DONE;</a:t>
            </a:r>
          </a:p>
          <a:p>
            <a:pPr marL="457200" indent="-457200">
              <a:spcBef>
                <a:spcPts val="1200"/>
              </a:spcBef>
              <a:buFont typeface="+mj-lt"/>
              <a:buAutoNum type="arabicPeriod"/>
            </a:pPr>
            <a:r>
              <a:rPr lang="en-US" sz="2000" dirty="0"/>
              <a:t>Some people have every skill – </a:t>
            </a:r>
            <a:r>
              <a:rPr lang="en-US" sz="2000" i="1" u="sng" dirty="0"/>
              <a:t>business acumen, data management, analytics understanding</a:t>
            </a:r>
            <a:r>
              <a:rPr lang="en-US" sz="2000" dirty="0"/>
              <a:t> – to perform a good Operational Analytics – but it tends to result in a slow ‘craft’ development process for most;</a:t>
            </a:r>
          </a:p>
          <a:p>
            <a:pPr marL="457200" indent="-457200">
              <a:spcBef>
                <a:spcPts val="1200"/>
              </a:spcBef>
              <a:buFont typeface="+mj-lt"/>
              <a:buAutoNum type="arabicPeriod"/>
            </a:pPr>
            <a:r>
              <a:rPr lang="en-US" sz="2000" dirty="0"/>
              <a:t>Investment in the </a:t>
            </a:r>
            <a:r>
              <a:rPr lang="en-US" sz="2000" i="1" u="sng" dirty="0"/>
              <a:t>right data foundation</a:t>
            </a:r>
            <a:r>
              <a:rPr lang="en-US" sz="2000" dirty="0"/>
              <a:t> has a positive ROI, as analysts move faster when they trust the data – results in faster results;</a:t>
            </a:r>
          </a:p>
          <a:p>
            <a:pPr marL="457200" indent="-457200">
              <a:spcBef>
                <a:spcPts val="1200"/>
              </a:spcBef>
              <a:buFont typeface="+mj-lt"/>
              <a:buAutoNum type="arabicPeriod"/>
            </a:pPr>
            <a:r>
              <a:rPr lang="en-US" sz="2000" i="1" u="sng" dirty="0"/>
              <a:t>Good data visualizations</a:t>
            </a:r>
            <a:r>
              <a:rPr lang="en-US" sz="2000" dirty="0"/>
              <a:t> can tell the right story quickly, because people are predisposed to believe what they see in a chart;</a:t>
            </a:r>
          </a:p>
          <a:p>
            <a:pPr marL="457200" indent="-457200">
              <a:spcBef>
                <a:spcPts val="1200"/>
              </a:spcBef>
              <a:buFont typeface="+mj-lt"/>
              <a:buAutoNum type="arabicPeriod"/>
            </a:pPr>
            <a:r>
              <a:rPr lang="en-US" sz="2000" dirty="0"/>
              <a:t>There is </a:t>
            </a:r>
            <a:r>
              <a:rPr lang="en-US" sz="2000" i="1" u="sng" dirty="0"/>
              <a:t>very positive ROI</a:t>
            </a:r>
            <a:r>
              <a:rPr lang="en-US" sz="2000" dirty="0"/>
              <a:t> in getting Operational Analytics well designed and developed– small analytics teams can wield disproportionate influence on the bottom line;</a:t>
            </a:r>
          </a:p>
          <a:p>
            <a:pPr marL="457200" indent="-457200">
              <a:spcBef>
                <a:spcPts val="1200"/>
              </a:spcBef>
              <a:buFont typeface="+mj-lt"/>
              <a:buAutoNum type="arabicPeriod"/>
            </a:pPr>
            <a:r>
              <a:rPr lang="en-US" sz="2000" dirty="0"/>
              <a:t>Good Operational Analytics </a:t>
            </a:r>
            <a:r>
              <a:rPr lang="en-US" sz="2000" i="1" u="sng" dirty="0"/>
              <a:t>provokes more timely decisions and actions</a:t>
            </a:r>
            <a:r>
              <a:rPr lang="en-US" sz="2000" dirty="0"/>
              <a:t> – indeed, in most organizational systems, simple and persuasive/influential beats complex/ambiguous every time.</a:t>
            </a:r>
          </a:p>
        </p:txBody>
      </p:sp>
    </p:spTree>
    <p:extLst>
      <p:ext uri="{BB962C8B-B14F-4D97-AF65-F5344CB8AC3E}">
        <p14:creationId xmlns:p14="http://schemas.microsoft.com/office/powerpoint/2010/main" val="38546661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text, screenshot, circle, font&#10;&#10;Description automatically generated">
            <a:extLst>
              <a:ext uri="{FF2B5EF4-FFF2-40B4-BE49-F238E27FC236}">
                <a16:creationId xmlns:a16="http://schemas.microsoft.com/office/drawing/2014/main" id="{2CC7A5B9-1D4E-FB38-5CA9-3565BDD9AB3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52400"/>
            <a:ext cx="7772400" cy="6159934"/>
          </a:xfrm>
        </p:spPr>
      </p:pic>
    </p:spTree>
    <p:extLst>
      <p:ext uri="{BB962C8B-B14F-4D97-AF65-F5344CB8AC3E}">
        <p14:creationId xmlns:p14="http://schemas.microsoft.com/office/powerpoint/2010/main" val="31780201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03"/>
        <p:cNvGrpSpPr/>
        <p:nvPr/>
      </p:nvGrpSpPr>
      <p:grpSpPr>
        <a:xfrm>
          <a:off x="0" y="0"/>
          <a:ext cx="0" cy="0"/>
          <a:chOff x="0" y="0"/>
          <a:chExt cx="0" cy="0"/>
        </a:xfrm>
      </p:grpSpPr>
      <p:sp>
        <p:nvSpPr>
          <p:cNvPr id="205" name="Google Shape;205;p37"/>
          <p:cNvSpPr txBox="1">
            <a:spLocks noGrp="1"/>
          </p:cNvSpPr>
          <p:nvPr>
            <p:ph type="sldNum" idx="12"/>
          </p:nvPr>
        </p:nvSpPr>
        <p:spPr>
          <a:xfrm>
            <a:off x="8373884" y="5531399"/>
            <a:ext cx="330386" cy="273896"/>
          </a:xfrm>
          <a:prstGeom prst="rect">
            <a:avLst/>
          </a:prstGeom>
        </p:spPr>
        <p:txBody>
          <a:bodyPr spcFirstLastPara="1" wrap="square" lIns="68587" tIns="34284" rIns="68587" bIns="34284" anchor="ctr" anchorCtr="0">
            <a:noAutofit/>
          </a:bodyPr>
          <a:lstStyle/>
          <a:p>
            <a:pPr marL="0" lvl="0" indent="0" algn="r" rtl="0">
              <a:spcBef>
                <a:spcPts val="0"/>
              </a:spcBef>
              <a:spcAft>
                <a:spcPts val="0"/>
              </a:spcAft>
              <a:buClr>
                <a:srgbClr val="000000"/>
              </a:buClr>
              <a:buFont typeface="Arial"/>
              <a:buNone/>
            </a:pPr>
            <a:fld id="{00000000-1234-1234-1234-123412341234}" type="slidenum">
              <a:rPr lang="en-US"/>
              <a:pPr marL="0" lvl="0" indent="0" algn="r" rtl="0">
                <a:spcBef>
                  <a:spcPts val="0"/>
                </a:spcBef>
                <a:spcAft>
                  <a:spcPts val="0"/>
                </a:spcAft>
                <a:buClr>
                  <a:srgbClr val="000000"/>
                </a:buClr>
                <a:buFont typeface="Arial"/>
                <a:buNone/>
              </a:pPr>
              <a:t>42</a:t>
            </a:fld>
            <a:endParaRPr/>
          </a:p>
        </p:txBody>
      </p:sp>
      <p:sp>
        <p:nvSpPr>
          <p:cNvPr id="2" name="TextBox 1">
            <a:extLst>
              <a:ext uri="{FF2B5EF4-FFF2-40B4-BE49-F238E27FC236}">
                <a16:creationId xmlns:a16="http://schemas.microsoft.com/office/drawing/2014/main" id="{C3B6F9E1-5D4E-4727-1554-0B5EFDFA542F}"/>
              </a:ext>
            </a:extLst>
          </p:cNvPr>
          <p:cNvSpPr txBox="1"/>
          <p:nvPr/>
        </p:nvSpPr>
        <p:spPr>
          <a:xfrm>
            <a:off x="414370" y="475272"/>
            <a:ext cx="2286231" cy="600293"/>
          </a:xfrm>
          <a:prstGeom prst="rect">
            <a:avLst/>
          </a:prstGeom>
          <a:noFill/>
        </p:spPr>
        <p:txBody>
          <a:bodyPr wrap="square" rtlCol="0">
            <a:spAutoFit/>
          </a:bodyPr>
          <a:lstStyle/>
          <a:p>
            <a:r>
              <a:rPr lang="en-US" sz="3301" dirty="0">
                <a:latin typeface="Baloo Bhaijaan" panose="03080902040302020200" pitchFamily="66" charset="-78"/>
                <a:cs typeface="Baloo Bhaijaan" panose="03080902040302020200" pitchFamily="66" charset="-78"/>
              </a:rPr>
              <a:t>CONCEPT</a:t>
            </a:r>
            <a:endParaRPr lang="en-US" sz="4951" dirty="0">
              <a:latin typeface="Baloo Bhaijaan" panose="03080902040302020200" pitchFamily="66" charset="-78"/>
              <a:cs typeface="Baloo Bhaijaan" panose="03080902040302020200" pitchFamily="66" charset="-78"/>
            </a:endParaRPr>
          </a:p>
        </p:txBody>
      </p:sp>
      <p:pic>
        <p:nvPicPr>
          <p:cNvPr id="4" name="Picture 3">
            <a:extLst>
              <a:ext uri="{FF2B5EF4-FFF2-40B4-BE49-F238E27FC236}">
                <a16:creationId xmlns:a16="http://schemas.microsoft.com/office/drawing/2014/main" id="{A6CC9093-3AFE-C433-5B2E-4C041C4055A1}"/>
              </a:ext>
            </a:extLst>
          </p:cNvPr>
          <p:cNvPicPr>
            <a:picLocks noChangeAspect="1"/>
          </p:cNvPicPr>
          <p:nvPr/>
        </p:nvPicPr>
        <p:blipFill>
          <a:blip r:embed="rId3"/>
          <a:stretch>
            <a:fillRect/>
          </a:stretch>
        </p:blipFill>
        <p:spPr>
          <a:xfrm>
            <a:off x="0" y="4973251"/>
            <a:ext cx="3114972" cy="1028169"/>
          </a:xfrm>
          <a:prstGeom prst="rect">
            <a:avLst/>
          </a:prstGeom>
        </p:spPr>
      </p:pic>
      <p:pic>
        <p:nvPicPr>
          <p:cNvPr id="10242" name="Picture 2" descr="Understanding The Difference Between SQL And MySQL">
            <a:extLst>
              <a:ext uri="{FF2B5EF4-FFF2-40B4-BE49-F238E27FC236}">
                <a16:creationId xmlns:a16="http://schemas.microsoft.com/office/drawing/2014/main" id="{E8BE3962-895C-9685-382F-993C84F044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3030" y="2294428"/>
            <a:ext cx="1693375" cy="952524"/>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Eat the Frog Now! Get started with Power BI - Foresight BI - Achieve More  With Less">
            <a:extLst>
              <a:ext uri="{FF2B5EF4-FFF2-40B4-BE49-F238E27FC236}">
                <a16:creationId xmlns:a16="http://schemas.microsoft.com/office/drawing/2014/main" id="{CFF94AAC-919A-AF6D-6366-214E437A53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1000" y="2289968"/>
            <a:ext cx="1693375" cy="951890"/>
          </a:xfrm>
          <a:prstGeom prst="rect">
            <a:avLst/>
          </a:prstGeom>
          <a:noFill/>
          <a:extLst>
            <a:ext uri="{909E8E84-426E-40DD-AFC4-6F175D3DCCD1}">
              <a14:hiddenFill xmlns:a14="http://schemas.microsoft.com/office/drawing/2010/main">
                <a:solidFill>
                  <a:srgbClr val="FFFFFF"/>
                </a:solidFill>
              </a14:hiddenFill>
            </a:ext>
          </a:extLst>
        </p:spPr>
      </p:pic>
      <p:pic>
        <p:nvPicPr>
          <p:cNvPr id="10248" name="Picture 8" descr="What is Microsoft Excel and What Does It Do? - TechLogical">
            <a:extLst>
              <a:ext uri="{FF2B5EF4-FFF2-40B4-BE49-F238E27FC236}">
                <a16:creationId xmlns:a16="http://schemas.microsoft.com/office/drawing/2014/main" id="{506E9424-7CD9-A66A-E486-7016CF497EA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98956" y="3036824"/>
            <a:ext cx="1693375" cy="948290"/>
          </a:xfrm>
          <a:prstGeom prst="rect">
            <a:avLst/>
          </a:prstGeom>
          <a:noFill/>
          <a:extLst>
            <a:ext uri="{909E8E84-426E-40DD-AFC4-6F175D3DCCD1}">
              <a14:hiddenFill xmlns:a14="http://schemas.microsoft.com/office/drawing/2010/main">
                <a:solidFill>
                  <a:srgbClr val="FFFFFF"/>
                </a:solidFill>
              </a14:hiddenFill>
            </a:ext>
          </a:extLst>
        </p:spPr>
      </p:pic>
      <p:pic>
        <p:nvPicPr>
          <p:cNvPr id="10254" name="Picture 14" descr="Create And Customize Your Online Dashboard - Manage Your Data Easily |  Visual.is">
            <a:extLst>
              <a:ext uri="{FF2B5EF4-FFF2-40B4-BE49-F238E27FC236}">
                <a16:creationId xmlns:a16="http://schemas.microsoft.com/office/drawing/2014/main" id="{0DD33540-674D-2566-75D1-B512606F37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00063" y="3973393"/>
            <a:ext cx="3304207" cy="2351207"/>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12190908-B4B2-7470-6E0E-139DE31CE5FC}"/>
              </a:ext>
            </a:extLst>
          </p:cNvPr>
          <p:cNvSpPr/>
          <p:nvPr/>
        </p:nvSpPr>
        <p:spPr>
          <a:xfrm>
            <a:off x="71724" y="1453139"/>
            <a:ext cx="6205350" cy="27316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cxnSp>
        <p:nvCxnSpPr>
          <p:cNvPr id="8" name="Elbow Connector 7">
            <a:extLst>
              <a:ext uri="{FF2B5EF4-FFF2-40B4-BE49-F238E27FC236}">
                <a16:creationId xmlns:a16="http://schemas.microsoft.com/office/drawing/2014/main" id="{52DDE793-63E3-03B6-C893-838A4057D725}"/>
              </a:ext>
            </a:extLst>
          </p:cNvPr>
          <p:cNvCxnSpPr>
            <a:cxnSpLocks/>
            <a:stCxn id="5" idx="6"/>
            <a:endCxn id="10254" idx="0"/>
          </p:cNvCxnSpPr>
          <p:nvPr/>
        </p:nvCxnSpPr>
        <p:spPr>
          <a:xfrm>
            <a:off x="6277074" y="2818967"/>
            <a:ext cx="775093" cy="115442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6" name="Picture 5" descr="A picture containing text, font, graphics, design&#10;&#10;Description automatically generated">
            <a:extLst>
              <a:ext uri="{FF2B5EF4-FFF2-40B4-BE49-F238E27FC236}">
                <a16:creationId xmlns:a16="http://schemas.microsoft.com/office/drawing/2014/main" id="{C2EA1236-F158-E54A-4627-D3BCCF79440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69485" y="1190396"/>
            <a:ext cx="2409825" cy="1057972"/>
          </a:xfrm>
          <a:prstGeom prst="rect">
            <a:avLst/>
          </a:prstGeom>
        </p:spPr>
      </p:pic>
    </p:spTree>
    <p:extLst>
      <p:ext uri="{BB962C8B-B14F-4D97-AF65-F5344CB8AC3E}">
        <p14:creationId xmlns:p14="http://schemas.microsoft.com/office/powerpoint/2010/main" val="13805691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BD4517-554A-8A17-FFA4-F57FCBB5E1FF}"/>
              </a:ext>
            </a:extLst>
          </p:cNvPr>
          <p:cNvPicPr>
            <a:picLocks noChangeAspect="1"/>
          </p:cNvPicPr>
          <p:nvPr/>
        </p:nvPicPr>
        <p:blipFill>
          <a:blip r:embed="rId3"/>
          <a:stretch>
            <a:fillRect/>
          </a:stretch>
        </p:blipFill>
        <p:spPr>
          <a:xfrm>
            <a:off x="381000" y="1143000"/>
            <a:ext cx="8439386" cy="5257800"/>
          </a:xfrm>
          <a:prstGeom prst="rect">
            <a:avLst/>
          </a:prstGeom>
        </p:spPr>
      </p:pic>
      <p:sp>
        <p:nvSpPr>
          <p:cNvPr id="3" name="TextBox 2">
            <a:extLst>
              <a:ext uri="{FF2B5EF4-FFF2-40B4-BE49-F238E27FC236}">
                <a16:creationId xmlns:a16="http://schemas.microsoft.com/office/drawing/2014/main" id="{FDD72910-0577-1B27-89DE-FF19F6E6EFF0}"/>
              </a:ext>
            </a:extLst>
          </p:cNvPr>
          <p:cNvSpPr txBox="1"/>
          <p:nvPr/>
        </p:nvSpPr>
        <p:spPr>
          <a:xfrm>
            <a:off x="2819400" y="304800"/>
            <a:ext cx="2839155"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US" sz="1600" dirty="0"/>
              <a:t>Metrics captured within the Site-Based Dashboard</a:t>
            </a:r>
          </a:p>
        </p:txBody>
      </p:sp>
    </p:spTree>
    <p:extLst>
      <p:ext uri="{BB962C8B-B14F-4D97-AF65-F5344CB8AC3E}">
        <p14:creationId xmlns:p14="http://schemas.microsoft.com/office/powerpoint/2010/main" val="9975946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205" name="Google Shape;205;p37"/>
          <p:cNvSpPr txBox="1">
            <a:spLocks noGrp="1"/>
          </p:cNvSpPr>
          <p:nvPr>
            <p:ph type="sldNum" idx="12"/>
          </p:nvPr>
        </p:nvSpPr>
        <p:spPr>
          <a:xfrm>
            <a:off x="8373884" y="5531399"/>
            <a:ext cx="330386" cy="273896"/>
          </a:xfrm>
          <a:prstGeom prst="rect">
            <a:avLst/>
          </a:prstGeom>
        </p:spPr>
        <p:txBody>
          <a:bodyPr spcFirstLastPara="1" wrap="square" lIns="68587" tIns="34284" rIns="68587" bIns="34284" anchor="ctr" anchorCtr="0">
            <a:noAutofit/>
          </a:bodyPr>
          <a:lstStyle/>
          <a:p>
            <a:pPr marL="0" lvl="0" indent="0" algn="r" rtl="0">
              <a:spcBef>
                <a:spcPts val="0"/>
              </a:spcBef>
              <a:spcAft>
                <a:spcPts val="0"/>
              </a:spcAft>
              <a:buClr>
                <a:srgbClr val="000000"/>
              </a:buClr>
              <a:buFont typeface="Arial"/>
              <a:buNone/>
            </a:pPr>
            <a:fld id="{00000000-1234-1234-1234-123412341234}" type="slidenum">
              <a:rPr lang="en-US"/>
              <a:pPr marL="0" lvl="0" indent="0" algn="r" rtl="0">
                <a:spcBef>
                  <a:spcPts val="0"/>
                </a:spcBef>
                <a:spcAft>
                  <a:spcPts val="0"/>
                </a:spcAft>
                <a:buClr>
                  <a:srgbClr val="000000"/>
                </a:buClr>
                <a:buFont typeface="Arial"/>
                <a:buNone/>
              </a:pPr>
              <a:t>44</a:t>
            </a:fld>
            <a:endParaRPr/>
          </a:p>
        </p:txBody>
      </p:sp>
      <p:pic>
        <p:nvPicPr>
          <p:cNvPr id="2" name="Picture 1">
            <a:extLst>
              <a:ext uri="{FF2B5EF4-FFF2-40B4-BE49-F238E27FC236}">
                <a16:creationId xmlns:a16="http://schemas.microsoft.com/office/drawing/2014/main" id="{EE425180-91E9-D179-969F-27F53A1F8003}"/>
              </a:ext>
            </a:extLst>
          </p:cNvPr>
          <p:cNvPicPr>
            <a:picLocks noChangeAspect="1"/>
          </p:cNvPicPr>
          <p:nvPr/>
        </p:nvPicPr>
        <p:blipFill>
          <a:blip r:embed="rId3"/>
          <a:stretch>
            <a:fillRect/>
          </a:stretch>
        </p:blipFill>
        <p:spPr>
          <a:xfrm>
            <a:off x="18691" y="872395"/>
            <a:ext cx="8806690" cy="5113210"/>
          </a:xfrm>
          <a:prstGeom prst="rect">
            <a:avLst/>
          </a:prstGeom>
        </p:spPr>
      </p:pic>
      <p:pic>
        <p:nvPicPr>
          <p:cNvPr id="4" name="Picture 3">
            <a:extLst>
              <a:ext uri="{FF2B5EF4-FFF2-40B4-BE49-F238E27FC236}">
                <a16:creationId xmlns:a16="http://schemas.microsoft.com/office/drawing/2014/main" id="{A0A6081A-1DA1-5714-2EBF-C51EC3621F42}"/>
              </a:ext>
            </a:extLst>
          </p:cNvPr>
          <p:cNvPicPr>
            <a:picLocks noChangeAspect="1"/>
          </p:cNvPicPr>
          <p:nvPr/>
        </p:nvPicPr>
        <p:blipFill>
          <a:blip r:embed="rId4"/>
          <a:stretch>
            <a:fillRect/>
          </a:stretch>
        </p:blipFill>
        <p:spPr>
          <a:xfrm>
            <a:off x="152400" y="5969790"/>
            <a:ext cx="2193718" cy="724088"/>
          </a:xfrm>
          <a:prstGeom prst="rect">
            <a:avLst/>
          </a:prstGeom>
        </p:spPr>
      </p:pic>
      <p:sp>
        <p:nvSpPr>
          <p:cNvPr id="6" name="Google Shape;292;g1d512fdac00_0_550">
            <a:extLst>
              <a:ext uri="{FF2B5EF4-FFF2-40B4-BE49-F238E27FC236}">
                <a16:creationId xmlns:a16="http://schemas.microsoft.com/office/drawing/2014/main" id="{D47AC3A1-907C-1C5D-1AD5-57C8DD50CC1D}"/>
              </a:ext>
            </a:extLst>
          </p:cNvPr>
          <p:cNvSpPr txBox="1"/>
          <p:nvPr/>
        </p:nvSpPr>
        <p:spPr>
          <a:xfrm>
            <a:off x="304800" y="452705"/>
            <a:ext cx="9144000" cy="403875"/>
          </a:xfrm>
          <a:prstGeom prst="rect">
            <a:avLst/>
          </a:prstGeom>
          <a:noFill/>
          <a:ln>
            <a:noFill/>
          </a:ln>
        </p:spPr>
        <p:txBody>
          <a:bodyPr spcFirstLastPara="1" wrap="square" lIns="34275" tIns="17137" rIns="34275" bIns="17137" anchor="t" anchorCtr="0">
            <a:spAutoFit/>
          </a:bodyPr>
          <a:lstStyle/>
          <a:p>
            <a:pPr>
              <a:buSzPts val="3199"/>
            </a:pPr>
            <a:r>
              <a:rPr lang="en-US" sz="2399" dirty="0">
                <a:solidFill>
                  <a:srgbClr val="23709A"/>
                </a:solidFill>
                <a:latin typeface="Open Sans"/>
                <a:ea typeface="Open Sans"/>
                <a:cs typeface="Open Sans"/>
                <a:sym typeface="Open Sans"/>
              </a:rPr>
              <a:t>Optimizing Accessibility</a:t>
            </a:r>
            <a:endParaRPr sz="525" dirty="0"/>
          </a:p>
        </p:txBody>
      </p:sp>
    </p:spTree>
    <p:extLst>
      <p:ext uri="{BB962C8B-B14F-4D97-AF65-F5344CB8AC3E}">
        <p14:creationId xmlns:p14="http://schemas.microsoft.com/office/powerpoint/2010/main" val="28814226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2">
            <a:extLst>
              <a:ext uri="{FF2B5EF4-FFF2-40B4-BE49-F238E27FC236}">
                <a16:creationId xmlns:a16="http://schemas.microsoft.com/office/drawing/2014/main" id="{7BBB52B6-A5CD-4B66-A0ED-603F4F740765}"/>
              </a:ext>
            </a:extLst>
          </p:cNvPr>
          <p:cNvPicPr>
            <a:picLocks noChangeAspect="1" noChangeArrowheads="1"/>
          </p:cNvPicPr>
          <p:nvPr/>
        </p:nvPicPr>
        <p:blipFill rotWithShape="1">
          <a:blip r:embed="rId3" cstate="print"/>
          <a:srcRect r="7225"/>
          <a:stretch/>
        </p:blipFill>
        <p:spPr bwMode="auto">
          <a:xfrm rot="18329652">
            <a:off x="2412500" y="1215518"/>
            <a:ext cx="5028524" cy="4201539"/>
          </a:xfrm>
          <a:prstGeom prst="rect">
            <a:avLst/>
          </a:prstGeom>
          <a:noFill/>
          <a:ln w="9525">
            <a:noFill/>
            <a:miter lim="800000"/>
            <a:headEnd/>
            <a:tailEnd/>
          </a:ln>
        </p:spPr>
      </p:pic>
      <p:sp>
        <p:nvSpPr>
          <p:cNvPr id="68610" name="Title 1">
            <a:extLst>
              <a:ext uri="{FF2B5EF4-FFF2-40B4-BE49-F238E27FC236}">
                <a16:creationId xmlns:a16="http://schemas.microsoft.com/office/drawing/2014/main" id="{E590AAF4-5EC4-4395-B45C-55DFFA5E7CAD}"/>
              </a:ext>
            </a:extLst>
          </p:cNvPr>
          <p:cNvSpPr>
            <a:spLocks noGrp="1"/>
          </p:cNvSpPr>
          <p:nvPr>
            <p:ph type="title"/>
          </p:nvPr>
        </p:nvSpPr>
        <p:spPr>
          <a:xfrm>
            <a:off x="457200" y="123825"/>
            <a:ext cx="7940675" cy="1095375"/>
          </a:xfrm>
        </p:spPr>
        <p:txBody>
          <a:bodyPr/>
          <a:lstStyle/>
          <a:p>
            <a:pPr eaLnBrk="1" hangingPunct="1"/>
            <a:r>
              <a:rPr lang="en-US" altLang="en-US" sz="2400" dirty="0"/>
              <a:t>Rounding the Corner on the Model is a Critical to Success Skillset for the Analyst</a:t>
            </a:r>
          </a:p>
        </p:txBody>
      </p:sp>
      <p:sp>
        <p:nvSpPr>
          <p:cNvPr id="5" name="Oval 4">
            <a:extLst>
              <a:ext uri="{FF2B5EF4-FFF2-40B4-BE49-F238E27FC236}">
                <a16:creationId xmlns:a16="http://schemas.microsoft.com/office/drawing/2014/main" id="{1CFCAD91-B0F7-4F0D-A039-4E997C3137E9}"/>
              </a:ext>
            </a:extLst>
          </p:cNvPr>
          <p:cNvSpPr/>
          <p:nvPr/>
        </p:nvSpPr>
        <p:spPr>
          <a:xfrm>
            <a:off x="2382838" y="4813300"/>
            <a:ext cx="3962400" cy="1908175"/>
          </a:xfrm>
          <a:prstGeom prst="ellipse">
            <a:avLst/>
          </a:prstGeom>
          <a:solidFill>
            <a:schemeClr val="tx2">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800" b="1" dirty="0">
                <a:solidFill>
                  <a:prstClr val="white"/>
                </a:solidFill>
              </a:rPr>
              <a:t>The Business Processes/Value Streams</a:t>
            </a:r>
          </a:p>
          <a:p>
            <a:pPr algn="ctr" fontAlgn="auto">
              <a:spcBef>
                <a:spcPts val="0"/>
              </a:spcBef>
              <a:spcAft>
                <a:spcPts val="0"/>
              </a:spcAft>
              <a:defRPr/>
            </a:pPr>
            <a:endParaRPr lang="en-US" sz="1800" dirty="0">
              <a:solidFill>
                <a:prstClr val="white"/>
              </a:solidFill>
            </a:endParaRPr>
          </a:p>
        </p:txBody>
      </p:sp>
      <p:sp>
        <p:nvSpPr>
          <p:cNvPr id="8" name="Right Arrow 7">
            <a:extLst>
              <a:ext uri="{FF2B5EF4-FFF2-40B4-BE49-F238E27FC236}">
                <a16:creationId xmlns:a16="http://schemas.microsoft.com/office/drawing/2014/main" id="{A31D1CF0-F471-413F-8950-7C34FED0A775}"/>
              </a:ext>
            </a:extLst>
          </p:cNvPr>
          <p:cNvSpPr/>
          <p:nvPr/>
        </p:nvSpPr>
        <p:spPr>
          <a:xfrm>
            <a:off x="1670050" y="5357813"/>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9" name="Right Arrow 8">
            <a:extLst>
              <a:ext uri="{FF2B5EF4-FFF2-40B4-BE49-F238E27FC236}">
                <a16:creationId xmlns:a16="http://schemas.microsoft.com/office/drawing/2014/main" id="{CE26577A-1A83-459D-9D29-595E63A23AB9}"/>
              </a:ext>
            </a:extLst>
          </p:cNvPr>
          <p:cNvSpPr/>
          <p:nvPr/>
        </p:nvSpPr>
        <p:spPr>
          <a:xfrm>
            <a:off x="6019800" y="5357752"/>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Cloud 9">
            <a:extLst>
              <a:ext uri="{FF2B5EF4-FFF2-40B4-BE49-F238E27FC236}">
                <a16:creationId xmlns:a16="http://schemas.microsoft.com/office/drawing/2014/main" id="{B248822B-B4B5-4968-BE76-F9CCBFF3EF29}"/>
              </a:ext>
            </a:extLst>
          </p:cNvPr>
          <p:cNvSpPr/>
          <p:nvPr/>
        </p:nvSpPr>
        <p:spPr>
          <a:xfrm>
            <a:off x="79375" y="4886325"/>
            <a:ext cx="1597025"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Upstream Systems and Inputs:</a:t>
            </a:r>
          </a:p>
          <a:p>
            <a:pPr algn="ctr" fontAlgn="auto">
              <a:spcBef>
                <a:spcPts val="0"/>
              </a:spcBef>
              <a:spcAft>
                <a:spcPts val="0"/>
              </a:spcAft>
              <a:defRPr/>
            </a:pPr>
            <a:r>
              <a:rPr lang="en-US" sz="1200" b="1" dirty="0">
                <a:solidFill>
                  <a:prstClr val="white"/>
                </a:solidFill>
              </a:rPr>
              <a:t>Suppliers &amp; customer orders</a:t>
            </a:r>
          </a:p>
        </p:txBody>
      </p:sp>
      <p:sp>
        <p:nvSpPr>
          <p:cNvPr id="11" name="Cloud 10">
            <a:extLst>
              <a:ext uri="{FF2B5EF4-FFF2-40B4-BE49-F238E27FC236}">
                <a16:creationId xmlns:a16="http://schemas.microsoft.com/office/drawing/2014/main" id="{F9F73316-CB56-4185-991C-03119509D8E3}"/>
              </a:ext>
            </a:extLst>
          </p:cNvPr>
          <p:cNvSpPr/>
          <p:nvPr/>
        </p:nvSpPr>
        <p:spPr>
          <a:xfrm>
            <a:off x="7086600" y="4948238"/>
            <a:ext cx="1828800"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Downstream Systems and Outputs:</a:t>
            </a:r>
          </a:p>
          <a:p>
            <a:pPr algn="ctr" fontAlgn="auto">
              <a:spcBef>
                <a:spcPts val="0"/>
              </a:spcBef>
              <a:spcAft>
                <a:spcPts val="0"/>
              </a:spcAft>
              <a:defRPr/>
            </a:pPr>
            <a:r>
              <a:rPr lang="en-US" sz="1200" b="1" dirty="0">
                <a:solidFill>
                  <a:prstClr val="white"/>
                </a:solidFill>
              </a:rPr>
              <a:t>Orders Fulfilled</a:t>
            </a:r>
          </a:p>
        </p:txBody>
      </p:sp>
      <p:cxnSp>
        <p:nvCxnSpPr>
          <p:cNvPr id="16" name="Straight Arrow Connector 15">
            <a:extLst>
              <a:ext uri="{FF2B5EF4-FFF2-40B4-BE49-F238E27FC236}">
                <a16:creationId xmlns:a16="http://schemas.microsoft.com/office/drawing/2014/main" id="{ECFD1F2F-4772-448A-899E-933B87CD8A36}"/>
              </a:ext>
            </a:extLst>
          </p:cNvPr>
          <p:cNvCxnSpPr/>
          <p:nvPr/>
        </p:nvCxnSpPr>
        <p:spPr>
          <a:xfrm flipV="1">
            <a:off x="6056313" y="3556000"/>
            <a:ext cx="862012" cy="1485900"/>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21" name="Oval 20">
            <a:extLst>
              <a:ext uri="{FF2B5EF4-FFF2-40B4-BE49-F238E27FC236}">
                <a16:creationId xmlns:a16="http://schemas.microsoft.com/office/drawing/2014/main" id="{AFACE195-A7A4-4C23-896A-042A86F95A70}"/>
              </a:ext>
            </a:extLst>
          </p:cNvPr>
          <p:cNvSpPr/>
          <p:nvPr/>
        </p:nvSpPr>
        <p:spPr>
          <a:xfrm>
            <a:off x="6299200" y="1863725"/>
            <a:ext cx="2463800" cy="1639888"/>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400" b="1" dirty="0">
                <a:solidFill>
                  <a:prstClr val="white"/>
                </a:solidFill>
              </a:rPr>
              <a:t>Data management and Operational Analytics</a:t>
            </a:r>
          </a:p>
          <a:p>
            <a:pPr algn="ctr" fontAlgn="auto">
              <a:spcBef>
                <a:spcPts val="0"/>
              </a:spcBef>
              <a:spcAft>
                <a:spcPts val="0"/>
              </a:spcAft>
              <a:defRPr/>
            </a:pPr>
            <a:endParaRPr lang="en-US" sz="1800" dirty="0">
              <a:solidFill>
                <a:prstClr val="white"/>
              </a:solidFill>
            </a:endParaRPr>
          </a:p>
        </p:txBody>
      </p:sp>
      <p:sp>
        <p:nvSpPr>
          <p:cNvPr id="23" name="Explosion 1 22">
            <a:extLst>
              <a:ext uri="{FF2B5EF4-FFF2-40B4-BE49-F238E27FC236}">
                <a16:creationId xmlns:a16="http://schemas.microsoft.com/office/drawing/2014/main" id="{48773753-88F0-4030-85B1-0FAD47D42813}"/>
              </a:ext>
            </a:extLst>
          </p:cNvPr>
          <p:cNvSpPr/>
          <p:nvPr/>
        </p:nvSpPr>
        <p:spPr>
          <a:xfrm>
            <a:off x="7040335" y="3521808"/>
            <a:ext cx="1216025" cy="954088"/>
          </a:xfrm>
          <a:prstGeom prst="irregularSeal1">
            <a:avLst/>
          </a:prstGeom>
          <a:gradFill flip="none" rotWithShape="1">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lin ang="0" scaled="1"/>
            <a:tileRect/>
          </a:gra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entry</a:t>
            </a:r>
          </a:p>
        </p:txBody>
      </p:sp>
      <p:sp>
        <p:nvSpPr>
          <p:cNvPr id="26" name="Bent Arrow 25">
            <a:extLst>
              <a:ext uri="{FF2B5EF4-FFF2-40B4-BE49-F238E27FC236}">
                <a16:creationId xmlns:a16="http://schemas.microsoft.com/office/drawing/2014/main" id="{3C7B199D-F5CD-4DAC-A1DF-509104F6EB75}"/>
              </a:ext>
            </a:extLst>
          </p:cNvPr>
          <p:cNvSpPr/>
          <p:nvPr/>
        </p:nvSpPr>
        <p:spPr>
          <a:xfrm rot="3508160" flipH="1">
            <a:off x="7850593" y="3462272"/>
            <a:ext cx="557212" cy="442913"/>
          </a:xfrm>
          <a:prstGeom prst="bentArrow">
            <a:avLst>
              <a:gd name="adj1" fmla="val 18742"/>
              <a:gd name="adj2" fmla="val 26648"/>
              <a:gd name="adj3" fmla="val 37505"/>
              <a:gd name="adj4" fmla="val 38805"/>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black"/>
              </a:solidFill>
            </a:endParaRPr>
          </a:p>
        </p:txBody>
      </p:sp>
      <p:sp>
        <p:nvSpPr>
          <p:cNvPr id="27" name="Explosion 1 26">
            <a:extLst>
              <a:ext uri="{FF2B5EF4-FFF2-40B4-BE49-F238E27FC236}">
                <a16:creationId xmlns:a16="http://schemas.microsoft.com/office/drawing/2014/main" id="{2FF7A2AB-60D0-4ADF-A924-E524B3115835}"/>
              </a:ext>
            </a:extLst>
          </p:cNvPr>
          <p:cNvSpPr/>
          <p:nvPr/>
        </p:nvSpPr>
        <p:spPr>
          <a:xfrm>
            <a:off x="6492875" y="2698750"/>
            <a:ext cx="1917700" cy="989013"/>
          </a:xfrm>
          <a:prstGeom prst="irregularSeal1">
            <a:avLst/>
          </a:prstGeom>
          <a:gradFill flip="none" rotWithShape="1">
            <a:gsLst>
              <a:gs pos="0">
                <a:schemeClr val="accent2">
                  <a:lumMod val="20000"/>
                  <a:lumOff val="80000"/>
                  <a:shade val="30000"/>
                  <a:satMod val="115000"/>
                </a:schemeClr>
              </a:gs>
              <a:gs pos="50000">
                <a:schemeClr val="accent2">
                  <a:lumMod val="20000"/>
                  <a:lumOff val="80000"/>
                  <a:shade val="67500"/>
                  <a:satMod val="115000"/>
                </a:schemeClr>
              </a:gs>
              <a:gs pos="100000">
                <a:schemeClr val="accent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400" dirty="0">
              <a:solidFill>
                <a:srgbClr val="1F497D">
                  <a:lumMod val="50000"/>
                </a:srgbClr>
              </a:solidFill>
            </a:endParaRPr>
          </a:p>
        </p:txBody>
      </p:sp>
      <p:sp>
        <p:nvSpPr>
          <p:cNvPr id="28" name="TextBox 27">
            <a:extLst>
              <a:ext uri="{FF2B5EF4-FFF2-40B4-BE49-F238E27FC236}">
                <a16:creationId xmlns:a16="http://schemas.microsoft.com/office/drawing/2014/main" id="{0149BC82-5294-4D46-B818-5B7F243B9D16}"/>
              </a:ext>
            </a:extLst>
          </p:cNvPr>
          <p:cNvSpPr txBox="1">
            <a:spLocks noChangeArrowheads="1"/>
          </p:cNvSpPr>
          <p:nvPr/>
        </p:nvSpPr>
        <p:spPr bwMode="auto">
          <a:xfrm>
            <a:off x="6815138" y="3054350"/>
            <a:ext cx="1828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10000"/>
                </a:solidFill>
                <a:latin typeface="Arial" charset="0"/>
              </a:defRPr>
            </a:lvl1pPr>
            <a:lvl2pPr marL="742950" indent="-285750" eaLnBrk="0" hangingPunct="0">
              <a:defRPr sz="900">
                <a:solidFill>
                  <a:srgbClr val="010000"/>
                </a:solidFill>
                <a:latin typeface="Arial" charset="0"/>
              </a:defRPr>
            </a:lvl2pPr>
            <a:lvl3pPr marL="1143000" indent="-228600" eaLnBrk="0" hangingPunct="0">
              <a:defRPr sz="900">
                <a:solidFill>
                  <a:srgbClr val="010000"/>
                </a:solidFill>
                <a:latin typeface="Arial" charset="0"/>
              </a:defRPr>
            </a:lvl3pPr>
            <a:lvl4pPr marL="1600200" indent="-228600" eaLnBrk="0" hangingPunct="0">
              <a:defRPr sz="900">
                <a:solidFill>
                  <a:srgbClr val="010000"/>
                </a:solidFill>
                <a:latin typeface="Arial" charset="0"/>
              </a:defRPr>
            </a:lvl4pPr>
            <a:lvl5pPr marL="2057400" indent="-228600" eaLnBrk="0" hangingPunct="0">
              <a:defRPr sz="900">
                <a:solidFill>
                  <a:srgbClr val="010000"/>
                </a:solidFill>
                <a:latin typeface="Arial" charset="0"/>
              </a:defRPr>
            </a:lvl5pPr>
            <a:lvl6pPr marL="2514600" indent="-228600" eaLnBrk="0" fontAlgn="base" hangingPunct="0">
              <a:spcBef>
                <a:spcPct val="0"/>
              </a:spcBef>
              <a:spcAft>
                <a:spcPct val="0"/>
              </a:spcAft>
              <a:defRPr sz="900">
                <a:solidFill>
                  <a:srgbClr val="010000"/>
                </a:solidFill>
                <a:latin typeface="Arial" charset="0"/>
              </a:defRPr>
            </a:lvl6pPr>
            <a:lvl7pPr marL="2971800" indent="-228600" eaLnBrk="0" fontAlgn="base" hangingPunct="0">
              <a:spcBef>
                <a:spcPct val="0"/>
              </a:spcBef>
              <a:spcAft>
                <a:spcPct val="0"/>
              </a:spcAft>
              <a:defRPr sz="900">
                <a:solidFill>
                  <a:srgbClr val="010000"/>
                </a:solidFill>
                <a:latin typeface="Arial" charset="0"/>
              </a:defRPr>
            </a:lvl7pPr>
            <a:lvl8pPr marL="3429000" indent="-228600" eaLnBrk="0" fontAlgn="base" hangingPunct="0">
              <a:spcBef>
                <a:spcPct val="0"/>
              </a:spcBef>
              <a:spcAft>
                <a:spcPct val="0"/>
              </a:spcAft>
              <a:defRPr sz="900">
                <a:solidFill>
                  <a:srgbClr val="010000"/>
                </a:solidFill>
                <a:latin typeface="Arial" charset="0"/>
              </a:defRPr>
            </a:lvl8pPr>
            <a:lvl9pPr marL="3886200" indent="-228600" eaLnBrk="0" fontAlgn="base" hangingPunct="0">
              <a:spcBef>
                <a:spcPct val="0"/>
              </a:spcBef>
              <a:spcAft>
                <a:spcPct val="0"/>
              </a:spcAft>
              <a:defRPr sz="900">
                <a:solidFill>
                  <a:srgbClr val="010000"/>
                </a:solidFill>
                <a:latin typeface="Arial" charset="0"/>
              </a:defRPr>
            </a:lvl9pPr>
          </a:lstStyle>
          <a:p>
            <a:pPr eaLnBrk="1" hangingPunct="1">
              <a:defRPr/>
            </a:pPr>
            <a:r>
              <a:rPr lang="en-US" altLang="en-US" sz="1050" dirty="0">
                <a:solidFill>
                  <a:srgbClr val="C00000"/>
                </a:solidFill>
              </a:rPr>
              <a:t>Data Organization</a:t>
            </a:r>
          </a:p>
        </p:txBody>
      </p:sp>
      <p:cxnSp>
        <p:nvCxnSpPr>
          <p:cNvPr id="34" name="Straight Arrow Connector 33">
            <a:extLst>
              <a:ext uri="{FF2B5EF4-FFF2-40B4-BE49-F238E27FC236}">
                <a16:creationId xmlns:a16="http://schemas.microsoft.com/office/drawing/2014/main" id="{9DBFCDF8-7155-48EA-8DD3-1EFD4EEFE83C}"/>
              </a:ext>
            </a:extLst>
          </p:cNvPr>
          <p:cNvCxnSpPr/>
          <p:nvPr/>
        </p:nvCxnSpPr>
        <p:spPr>
          <a:xfrm flipH="1">
            <a:off x="2700338" y="2851150"/>
            <a:ext cx="3409950" cy="7938"/>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39" name="Oval 38">
            <a:extLst>
              <a:ext uri="{FF2B5EF4-FFF2-40B4-BE49-F238E27FC236}">
                <a16:creationId xmlns:a16="http://schemas.microsoft.com/office/drawing/2014/main" id="{89B5AFD2-24B7-463A-A991-FD59943D6F40}"/>
              </a:ext>
            </a:extLst>
          </p:cNvPr>
          <p:cNvSpPr/>
          <p:nvPr/>
        </p:nvSpPr>
        <p:spPr>
          <a:xfrm>
            <a:off x="66675" y="1698625"/>
            <a:ext cx="2633663" cy="1673225"/>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200" b="1" dirty="0">
                <a:solidFill>
                  <a:prstClr val="white"/>
                </a:solidFill>
              </a:rPr>
              <a:t>Leadership &amp; management team</a:t>
            </a:r>
          </a:p>
          <a:p>
            <a:pPr algn="ctr" fontAlgn="auto">
              <a:spcBef>
                <a:spcPts val="0"/>
              </a:spcBef>
              <a:spcAft>
                <a:spcPts val="0"/>
              </a:spcAft>
              <a:defRPr/>
            </a:pPr>
            <a:endParaRPr lang="en-US" sz="1200" b="1" dirty="0">
              <a:solidFill>
                <a:prstClr val="white"/>
              </a:solidFill>
            </a:endParaRPr>
          </a:p>
          <a:p>
            <a:pPr algn="ctr" fontAlgn="auto">
              <a:spcBef>
                <a:spcPts val="0"/>
              </a:spcBef>
              <a:spcAft>
                <a:spcPts val="0"/>
              </a:spcAft>
              <a:defRPr/>
            </a:pPr>
            <a:r>
              <a:rPr lang="en-US" sz="1200" dirty="0">
                <a:solidFill>
                  <a:prstClr val="white"/>
                </a:solidFill>
              </a:rPr>
              <a:t>(wisdom application, data/facts to information conversion process)</a:t>
            </a:r>
          </a:p>
          <a:p>
            <a:pPr algn="ctr" fontAlgn="auto">
              <a:spcBef>
                <a:spcPts val="0"/>
              </a:spcBef>
              <a:spcAft>
                <a:spcPts val="0"/>
              </a:spcAft>
              <a:defRPr/>
            </a:pPr>
            <a:endParaRPr lang="en-US" sz="1600" dirty="0">
              <a:solidFill>
                <a:prstClr val="white"/>
              </a:solidFill>
            </a:endParaRPr>
          </a:p>
        </p:txBody>
      </p:sp>
      <p:cxnSp>
        <p:nvCxnSpPr>
          <p:cNvPr id="41" name="Straight Arrow Connector 40">
            <a:extLst>
              <a:ext uri="{FF2B5EF4-FFF2-40B4-BE49-F238E27FC236}">
                <a16:creationId xmlns:a16="http://schemas.microsoft.com/office/drawing/2014/main" id="{EE7833D6-17C3-45A9-B47E-B79684DC2B8B}"/>
              </a:ext>
            </a:extLst>
          </p:cNvPr>
          <p:cNvCxnSpPr/>
          <p:nvPr/>
        </p:nvCxnSpPr>
        <p:spPr>
          <a:xfrm>
            <a:off x="1609725" y="3503613"/>
            <a:ext cx="1308100" cy="1406525"/>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68627" name="AutoShape 4" descr="Image result for sheet metal clip art">
            <a:extLst>
              <a:ext uri="{FF2B5EF4-FFF2-40B4-BE49-F238E27FC236}">
                <a16:creationId xmlns:a16="http://schemas.microsoft.com/office/drawing/2014/main" id="{D1F70884-71A7-4970-8B78-63ACFA602C64}"/>
              </a:ext>
            </a:extLst>
          </p:cNvPr>
          <p:cNvSpPr>
            <a:spLocks noChangeAspect="1" noChangeArrowheads="1"/>
          </p:cNvSpPr>
          <p:nvPr/>
        </p:nvSpPr>
        <p:spPr bwMode="auto">
          <a:xfrm>
            <a:off x="307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solidFill>
                <a:srgbClr val="000000"/>
              </a:solidFill>
            </a:endParaRPr>
          </a:p>
        </p:txBody>
      </p:sp>
      <p:sp>
        <p:nvSpPr>
          <p:cNvPr id="25" name="Explosion 1 24">
            <a:extLst>
              <a:ext uri="{FF2B5EF4-FFF2-40B4-BE49-F238E27FC236}">
                <a16:creationId xmlns:a16="http://schemas.microsoft.com/office/drawing/2014/main" id="{2B41229C-F5CD-4E4E-B684-7F2083F6FB50}"/>
              </a:ext>
            </a:extLst>
          </p:cNvPr>
          <p:cNvSpPr/>
          <p:nvPr/>
        </p:nvSpPr>
        <p:spPr>
          <a:xfrm>
            <a:off x="6128544" y="4673323"/>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29" name="Explosion 1 28">
            <a:extLst>
              <a:ext uri="{FF2B5EF4-FFF2-40B4-BE49-F238E27FC236}">
                <a16:creationId xmlns:a16="http://schemas.microsoft.com/office/drawing/2014/main" id="{4DDD79A7-7543-4ECD-A368-E9ACD507C43E}"/>
              </a:ext>
            </a:extLst>
          </p:cNvPr>
          <p:cNvSpPr/>
          <p:nvPr/>
        </p:nvSpPr>
        <p:spPr>
          <a:xfrm>
            <a:off x="3278251" y="1199642"/>
            <a:ext cx="1712912" cy="1103313"/>
          </a:xfrm>
          <a:prstGeom prst="irregularSeal1">
            <a:avLst/>
          </a:prstGeom>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srgbClr val="1F497D">
                    <a:lumMod val="50000"/>
                  </a:srgbClr>
                </a:solidFill>
              </a:rPr>
              <a:t>Information portrayal</a:t>
            </a:r>
          </a:p>
        </p:txBody>
      </p:sp>
      <p:sp>
        <p:nvSpPr>
          <p:cNvPr id="30" name="Explosion 1 29">
            <a:extLst>
              <a:ext uri="{FF2B5EF4-FFF2-40B4-BE49-F238E27FC236}">
                <a16:creationId xmlns:a16="http://schemas.microsoft.com/office/drawing/2014/main" id="{BFCB82B5-6012-401F-8659-BCA91AB63664}"/>
              </a:ext>
            </a:extLst>
          </p:cNvPr>
          <p:cNvSpPr/>
          <p:nvPr/>
        </p:nvSpPr>
        <p:spPr>
          <a:xfrm>
            <a:off x="1546988" y="1090899"/>
            <a:ext cx="1911350" cy="1398587"/>
          </a:xfrm>
          <a:prstGeom prst="irregularSeal1">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srgbClr val="1F497D">
                    <a:lumMod val="50000"/>
                  </a:srgbClr>
                </a:solidFill>
              </a:rPr>
              <a:t>Information perception/ understanding/ insights</a:t>
            </a:r>
          </a:p>
        </p:txBody>
      </p:sp>
      <p:sp>
        <p:nvSpPr>
          <p:cNvPr id="31" name="Explosion 1 30">
            <a:extLst>
              <a:ext uri="{FF2B5EF4-FFF2-40B4-BE49-F238E27FC236}">
                <a16:creationId xmlns:a16="http://schemas.microsoft.com/office/drawing/2014/main" id="{9A8B9EA3-F8E1-4010-BDD7-B509149F0D8B}"/>
              </a:ext>
            </a:extLst>
          </p:cNvPr>
          <p:cNvSpPr/>
          <p:nvPr/>
        </p:nvSpPr>
        <p:spPr>
          <a:xfrm>
            <a:off x="501650" y="3449638"/>
            <a:ext cx="1325563" cy="949325"/>
          </a:xfrm>
          <a:prstGeom prst="irregularSeal1">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080000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Decisions</a:t>
            </a:r>
          </a:p>
        </p:txBody>
      </p:sp>
      <p:sp>
        <p:nvSpPr>
          <p:cNvPr id="32" name="Explosion 1 31">
            <a:extLst>
              <a:ext uri="{FF2B5EF4-FFF2-40B4-BE49-F238E27FC236}">
                <a16:creationId xmlns:a16="http://schemas.microsoft.com/office/drawing/2014/main" id="{96CC856B-486B-4F24-8F23-CA9FC6162F9C}"/>
              </a:ext>
            </a:extLst>
          </p:cNvPr>
          <p:cNvSpPr/>
          <p:nvPr/>
        </p:nvSpPr>
        <p:spPr>
          <a:xfrm>
            <a:off x="2165350" y="3589338"/>
            <a:ext cx="1325563" cy="947737"/>
          </a:xfrm>
          <a:prstGeom prst="irregularSeal1">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Actions</a:t>
            </a:r>
          </a:p>
        </p:txBody>
      </p:sp>
      <p:pic>
        <p:nvPicPr>
          <p:cNvPr id="68633" name="Picture 27" descr="Image result for value stream map simple images">
            <a:extLst>
              <a:ext uri="{FF2B5EF4-FFF2-40B4-BE49-F238E27FC236}">
                <a16:creationId xmlns:a16="http://schemas.microsoft.com/office/drawing/2014/main" id="{1031AA4C-A6FD-4C7C-A144-B6C83431A0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1321" t="14018" r="6564" b="7230"/>
          <a:stretch>
            <a:fillRect/>
          </a:stretch>
        </p:blipFill>
        <p:spPr bwMode="auto">
          <a:xfrm>
            <a:off x="2827338" y="6062663"/>
            <a:ext cx="3005137"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Explosion 1 24">
            <a:extLst>
              <a:ext uri="{FF2B5EF4-FFF2-40B4-BE49-F238E27FC236}">
                <a16:creationId xmlns:a16="http://schemas.microsoft.com/office/drawing/2014/main" id="{D08856C9-0C96-4C6C-9C9D-946C77F66776}"/>
              </a:ext>
            </a:extLst>
          </p:cNvPr>
          <p:cNvSpPr/>
          <p:nvPr/>
        </p:nvSpPr>
        <p:spPr>
          <a:xfrm>
            <a:off x="1173163" y="4516351"/>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36" name="Explosion 1 24">
            <a:extLst>
              <a:ext uri="{FF2B5EF4-FFF2-40B4-BE49-F238E27FC236}">
                <a16:creationId xmlns:a16="http://schemas.microsoft.com/office/drawing/2014/main" id="{0F8267A6-8F50-4C8A-B914-3B7EA172BCC1}"/>
              </a:ext>
            </a:extLst>
          </p:cNvPr>
          <p:cNvSpPr/>
          <p:nvPr/>
        </p:nvSpPr>
        <p:spPr>
          <a:xfrm>
            <a:off x="2359024" y="4758375"/>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37" name="Explosion 1 24">
            <a:extLst>
              <a:ext uri="{FF2B5EF4-FFF2-40B4-BE49-F238E27FC236}">
                <a16:creationId xmlns:a16="http://schemas.microsoft.com/office/drawing/2014/main" id="{105A8EC0-CF2C-444E-961B-05A1ACFF0E8F}"/>
              </a:ext>
            </a:extLst>
          </p:cNvPr>
          <p:cNvSpPr/>
          <p:nvPr/>
        </p:nvSpPr>
        <p:spPr>
          <a:xfrm>
            <a:off x="3012503" y="5500688"/>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38" name="Explosion 1 24">
            <a:extLst>
              <a:ext uri="{FF2B5EF4-FFF2-40B4-BE49-F238E27FC236}">
                <a16:creationId xmlns:a16="http://schemas.microsoft.com/office/drawing/2014/main" id="{61A8E4DD-E0D6-4B80-8CB7-FEEBD4FE8901}"/>
              </a:ext>
            </a:extLst>
          </p:cNvPr>
          <p:cNvSpPr/>
          <p:nvPr/>
        </p:nvSpPr>
        <p:spPr>
          <a:xfrm>
            <a:off x="4847373" y="5468851"/>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40" name="Explosion 1 24">
            <a:extLst>
              <a:ext uri="{FF2B5EF4-FFF2-40B4-BE49-F238E27FC236}">
                <a16:creationId xmlns:a16="http://schemas.microsoft.com/office/drawing/2014/main" id="{FC41597C-3AF4-4013-8B44-C086106F7521}"/>
              </a:ext>
            </a:extLst>
          </p:cNvPr>
          <p:cNvSpPr/>
          <p:nvPr/>
        </p:nvSpPr>
        <p:spPr>
          <a:xfrm>
            <a:off x="7814952" y="4433888"/>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2" name="Oval 1">
            <a:extLst>
              <a:ext uri="{FF2B5EF4-FFF2-40B4-BE49-F238E27FC236}">
                <a16:creationId xmlns:a16="http://schemas.microsoft.com/office/drawing/2014/main" id="{35E05B82-E4BF-485A-8E1D-01B366570725}"/>
              </a:ext>
            </a:extLst>
          </p:cNvPr>
          <p:cNvSpPr/>
          <p:nvPr/>
        </p:nvSpPr>
        <p:spPr>
          <a:xfrm>
            <a:off x="79375" y="1219200"/>
            <a:ext cx="4107878" cy="3352800"/>
          </a:xfrm>
          <a:prstGeom prst="ellipse">
            <a:avLst/>
          </a:prstGeom>
          <a:solidFill>
            <a:srgbClr val="C00000">
              <a:alpha val="2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urved Right 2">
            <a:extLst>
              <a:ext uri="{FF2B5EF4-FFF2-40B4-BE49-F238E27FC236}">
                <a16:creationId xmlns:a16="http://schemas.microsoft.com/office/drawing/2014/main" id="{A06FCF47-55C3-45AE-AF1D-79D4A96103C5}"/>
              </a:ext>
            </a:extLst>
          </p:cNvPr>
          <p:cNvSpPr/>
          <p:nvPr/>
        </p:nvSpPr>
        <p:spPr>
          <a:xfrm>
            <a:off x="10031" y="1273175"/>
            <a:ext cx="1706438" cy="3509876"/>
          </a:xfrm>
          <a:prstGeom prst="curved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1170637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0"/>
                                        </p:tgtEl>
                                        <p:attrNameLst>
                                          <p:attrName>style.visibility</p:attrName>
                                        </p:attrNameLst>
                                      </p:cBhvr>
                                      <p:to>
                                        <p:strVal val="visible"/>
                                      </p:to>
                                    </p:set>
                                  </p:childTnLst>
                                </p:cTn>
                              </p:par>
                            </p:childTnLst>
                          </p:cTn>
                        </p:par>
                        <p:par>
                          <p:cTn id="7" fill="hold" nodeType="afterGroup">
                            <p:stCondLst>
                              <p:cond delay="500"/>
                            </p:stCondLst>
                            <p:childTnLst>
                              <p:par>
                                <p:cTn id="8" presetID="1" presetClass="entr" presetSubtype="0" fill="hold" grpId="0" nodeType="afterEffect">
                                  <p:stCondLst>
                                    <p:cond delay="0"/>
                                  </p:stCondLst>
                                  <p:childTnLst>
                                    <p:set>
                                      <p:cBhvr>
                                        <p:cTn id="9" dur="1" fill="hold">
                                          <p:stCondLst>
                                            <p:cond delay="499"/>
                                          </p:stCondLst>
                                        </p:cTn>
                                        <p:tgtEl>
                                          <p:spTgt spid="8"/>
                                        </p:tgtEl>
                                        <p:attrNameLst>
                                          <p:attrName>style.visibility</p:attrName>
                                        </p:attrNameLst>
                                      </p:cBhvr>
                                      <p:to>
                                        <p:strVal val="visible"/>
                                      </p:to>
                                    </p:set>
                                  </p:childTnLst>
                                </p:cTn>
                              </p:par>
                            </p:childTnLst>
                          </p:cTn>
                        </p:par>
                        <p:par>
                          <p:cTn id="10" fill="hold" nodeType="afterGroup">
                            <p:stCondLst>
                              <p:cond delay="1000"/>
                            </p:stCondLst>
                            <p:childTnLst>
                              <p:par>
                                <p:cTn id="11" presetID="1" presetClass="entr" presetSubtype="0" fill="hold" grpId="0" nodeType="afterEffect">
                                  <p:stCondLst>
                                    <p:cond delay="0"/>
                                  </p:stCondLst>
                                  <p:childTnLst>
                                    <p:set>
                                      <p:cBhvr>
                                        <p:cTn id="12" dur="1" fill="hold">
                                          <p:stCondLst>
                                            <p:cond delay="499"/>
                                          </p:stCondLst>
                                        </p:cTn>
                                        <p:tgtEl>
                                          <p:spTgt spid="5"/>
                                        </p:tgtEl>
                                        <p:attrNameLst>
                                          <p:attrName>style.visibility</p:attrName>
                                        </p:attrNameLst>
                                      </p:cBhvr>
                                      <p:to>
                                        <p:strVal val="visible"/>
                                      </p:to>
                                    </p:set>
                                  </p:childTnLst>
                                </p:cTn>
                              </p:par>
                            </p:childTnLst>
                          </p:cTn>
                        </p:par>
                        <p:par>
                          <p:cTn id="13" fill="hold" nodeType="afterGroup">
                            <p:stCondLst>
                              <p:cond delay="1500"/>
                            </p:stCondLst>
                            <p:childTnLst>
                              <p:par>
                                <p:cTn id="14" presetID="1" presetClass="entr" presetSubtype="0" fill="hold" nodeType="afterEffect">
                                  <p:stCondLst>
                                    <p:cond delay="0"/>
                                  </p:stCondLst>
                                  <p:childTnLst>
                                    <p:set>
                                      <p:cBhvr>
                                        <p:cTn id="15" dur="1" fill="hold">
                                          <p:stCondLst>
                                            <p:cond delay="499"/>
                                          </p:stCondLst>
                                        </p:cTn>
                                        <p:tgtEl>
                                          <p:spTgt spid="9"/>
                                        </p:tgtEl>
                                        <p:attrNameLst>
                                          <p:attrName>style.visibility</p:attrName>
                                        </p:attrNameLst>
                                      </p:cBhvr>
                                      <p:to>
                                        <p:strVal val="visible"/>
                                      </p:to>
                                    </p:set>
                                  </p:childTnLst>
                                </p:cTn>
                              </p:par>
                            </p:childTnLst>
                          </p:cTn>
                        </p:par>
                        <p:par>
                          <p:cTn id="16" fill="hold" nodeType="afterGroup">
                            <p:stCondLst>
                              <p:cond delay="2000"/>
                            </p:stCondLst>
                            <p:childTnLst>
                              <p:par>
                                <p:cTn id="17" presetID="1" presetClass="entr" presetSubtype="0" fill="hold" grpId="0" nodeType="afterEffect">
                                  <p:stCondLst>
                                    <p:cond delay="0"/>
                                  </p:stCondLst>
                                  <p:childTnLst>
                                    <p:set>
                                      <p:cBhvr>
                                        <p:cTn id="18" dur="1" fill="hold">
                                          <p:stCondLst>
                                            <p:cond delay="499"/>
                                          </p:stCondLst>
                                        </p:cTn>
                                        <p:tgtEl>
                                          <p:spTgt spid="11"/>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499"/>
                                          </p:stCondLst>
                                        </p:cTn>
                                        <p:tgtEl>
                                          <p:spTgt spid="16"/>
                                        </p:tgtEl>
                                        <p:attrNameLst>
                                          <p:attrName>style.visibility</p:attrName>
                                        </p:attrNameLst>
                                      </p:cBhvr>
                                      <p:to>
                                        <p:strVal val="visible"/>
                                      </p:to>
                                    </p:set>
                                  </p:childTnLst>
                                </p:cTn>
                              </p:par>
                            </p:childTnLst>
                          </p:cTn>
                        </p:par>
                        <p:par>
                          <p:cTn id="23" fill="hold" nodeType="afterGroup">
                            <p:stCondLst>
                              <p:cond delay="500"/>
                            </p:stCondLst>
                            <p:childTnLst>
                              <p:par>
                                <p:cTn id="24" presetID="1" presetClass="entr" presetSubtype="0" fill="hold" grpId="0" nodeType="afterEffect">
                                  <p:stCondLst>
                                    <p:cond delay="0"/>
                                  </p:stCondLst>
                                  <p:childTnLst>
                                    <p:set>
                                      <p:cBhvr>
                                        <p:cTn id="25" dur="1" fill="hold">
                                          <p:stCondLst>
                                            <p:cond delay="499"/>
                                          </p:stCondLst>
                                        </p:cTn>
                                        <p:tgtEl>
                                          <p:spTgt spid="25"/>
                                        </p:tgtEl>
                                        <p:attrNameLst>
                                          <p:attrName>style.visibility</p:attrName>
                                        </p:attrNameLst>
                                      </p:cBhvr>
                                      <p:to>
                                        <p:strVal val="visible"/>
                                      </p:to>
                                    </p:set>
                                  </p:childTnLst>
                                </p:cTn>
                              </p:par>
                            </p:childTnLst>
                          </p:cTn>
                        </p:par>
                        <p:par>
                          <p:cTn id="26" fill="hold" nodeType="afterGroup">
                            <p:stCondLst>
                              <p:cond delay="1000"/>
                            </p:stCondLst>
                            <p:childTnLst>
                              <p:par>
                                <p:cTn id="27" presetID="1" presetClass="entr" presetSubtype="0" fill="hold" grpId="0" nodeType="afterEffect">
                                  <p:stCondLst>
                                    <p:cond delay="0"/>
                                  </p:stCondLst>
                                  <p:childTnLst>
                                    <p:set>
                                      <p:cBhvr>
                                        <p:cTn id="28" dur="1" fill="hold">
                                          <p:stCondLst>
                                            <p:cond delay="499"/>
                                          </p:stCondLst>
                                        </p:cTn>
                                        <p:tgtEl>
                                          <p:spTgt spid="23"/>
                                        </p:tgtEl>
                                        <p:attrNameLst>
                                          <p:attrName>style.visibility</p:attrName>
                                        </p:attrNameLst>
                                      </p:cBhvr>
                                      <p:to>
                                        <p:strVal val="visible"/>
                                      </p:to>
                                    </p:set>
                                  </p:childTnLst>
                                </p:cTn>
                              </p:par>
                            </p:childTnLst>
                          </p:cTn>
                        </p:par>
                        <p:par>
                          <p:cTn id="29" fill="hold" nodeType="afterGroup">
                            <p:stCondLst>
                              <p:cond delay="1500"/>
                            </p:stCondLst>
                            <p:childTnLst>
                              <p:par>
                                <p:cTn id="30" presetID="1" presetClass="entr" presetSubtype="0" fill="hold" nodeType="afterEffect">
                                  <p:stCondLst>
                                    <p:cond delay="0"/>
                                  </p:stCondLst>
                                  <p:childTnLst>
                                    <p:set>
                                      <p:cBhvr>
                                        <p:cTn id="31" dur="1" fill="hold">
                                          <p:stCondLst>
                                            <p:cond delay="499"/>
                                          </p:stCondLst>
                                        </p:cTn>
                                        <p:tgtEl>
                                          <p:spTgt spid="26"/>
                                        </p:tgtEl>
                                        <p:attrNameLst>
                                          <p:attrName>style.visibility</p:attrName>
                                        </p:attrNameLst>
                                      </p:cBhvr>
                                      <p:to>
                                        <p:strVal val="visible"/>
                                      </p:to>
                                    </p:set>
                                  </p:childTnLst>
                                </p:cTn>
                              </p:par>
                            </p:childTnLst>
                          </p:cTn>
                        </p:par>
                        <p:par>
                          <p:cTn id="32" fill="hold" nodeType="afterGroup">
                            <p:stCondLst>
                              <p:cond delay="2000"/>
                            </p:stCondLst>
                            <p:childTnLst>
                              <p:par>
                                <p:cTn id="33" presetID="1" presetClass="entr" presetSubtype="0" fill="hold" grpId="0" nodeType="afterEffect">
                                  <p:stCondLst>
                                    <p:cond delay="0"/>
                                  </p:stCondLst>
                                  <p:childTnLst>
                                    <p:set>
                                      <p:cBhvr>
                                        <p:cTn id="34" dur="1" fill="hold">
                                          <p:stCondLst>
                                            <p:cond delay="499"/>
                                          </p:stCondLst>
                                        </p:cTn>
                                        <p:tgtEl>
                                          <p:spTgt spid="27"/>
                                        </p:tgtEl>
                                        <p:attrNameLst>
                                          <p:attrName>style.visibility</p:attrName>
                                        </p:attrNameLst>
                                      </p:cBhvr>
                                      <p:to>
                                        <p:strVal val="visible"/>
                                      </p:to>
                                    </p:set>
                                  </p:childTnLst>
                                </p:cTn>
                              </p:par>
                            </p:childTnLst>
                          </p:cTn>
                        </p:par>
                        <p:par>
                          <p:cTn id="35" fill="hold" nodeType="afterGroup">
                            <p:stCondLst>
                              <p:cond delay="2500"/>
                            </p:stCondLst>
                            <p:childTnLst>
                              <p:par>
                                <p:cTn id="36" presetID="1" presetClass="entr" presetSubtype="0" fill="hold" grpId="0" nodeType="afterEffect">
                                  <p:stCondLst>
                                    <p:cond delay="0"/>
                                  </p:stCondLst>
                                  <p:childTnLst>
                                    <p:set>
                                      <p:cBhvr>
                                        <p:cTn id="37" dur="1" fill="hold">
                                          <p:stCondLst>
                                            <p:cond delay="499"/>
                                          </p:stCondLst>
                                        </p:cTn>
                                        <p:tgtEl>
                                          <p:spTgt spid="28"/>
                                        </p:tgtEl>
                                        <p:attrNameLst>
                                          <p:attrName>style.visibility</p:attrName>
                                        </p:attrNameLst>
                                      </p:cBhvr>
                                      <p:to>
                                        <p:strVal val="visible"/>
                                      </p:to>
                                    </p:set>
                                  </p:childTnLst>
                                </p:cTn>
                              </p:par>
                            </p:childTnLst>
                          </p:cTn>
                        </p:par>
                        <p:par>
                          <p:cTn id="38" fill="hold" nodeType="afterGroup">
                            <p:stCondLst>
                              <p:cond delay="3000"/>
                            </p:stCondLst>
                            <p:childTnLst>
                              <p:par>
                                <p:cTn id="39" presetID="1" presetClass="entr" presetSubtype="0" fill="hold" grpId="0" nodeType="afterEffect">
                                  <p:stCondLst>
                                    <p:cond delay="0"/>
                                  </p:stCondLst>
                                  <p:childTnLst>
                                    <p:set>
                                      <p:cBhvr>
                                        <p:cTn id="40" dur="1" fill="hold">
                                          <p:stCondLst>
                                            <p:cond delay="499"/>
                                          </p:stCondLst>
                                        </p:cTn>
                                        <p:tgtEl>
                                          <p:spTgt spid="21"/>
                                        </p:tgtEl>
                                        <p:attrNameLst>
                                          <p:attrName>style.visibility</p:attrName>
                                        </p:attrNameLst>
                                      </p:cBhvr>
                                      <p:to>
                                        <p:strVal val="visible"/>
                                      </p:to>
                                    </p:set>
                                  </p:childTnLst>
                                </p:cTn>
                              </p:par>
                            </p:childTnLst>
                          </p:cTn>
                        </p:par>
                      </p:childTnLst>
                    </p:cTn>
                  </p:par>
                  <p:par>
                    <p:cTn id="41" fill="hold" nodeType="clickPar">
                      <p:stCondLst>
                        <p:cond delay="indefinite"/>
                      </p:stCondLst>
                      <p:childTnLst>
                        <p:par>
                          <p:cTn id="42" fill="hold" nodeType="withGroup">
                            <p:stCondLst>
                              <p:cond delay="0"/>
                            </p:stCondLst>
                            <p:childTnLst>
                              <p:par>
                                <p:cTn id="43" presetID="1" presetClass="entr" presetSubtype="0" fill="hold" grpId="0" nodeType="clickEffect">
                                  <p:stCondLst>
                                    <p:cond delay="0"/>
                                  </p:stCondLst>
                                  <p:childTnLst>
                                    <p:set>
                                      <p:cBhvr>
                                        <p:cTn id="44" dur="1" fill="hold">
                                          <p:stCondLst>
                                            <p:cond delay="499"/>
                                          </p:stCondLst>
                                        </p:cTn>
                                        <p:tgtEl>
                                          <p:spTgt spid="29"/>
                                        </p:tgtEl>
                                        <p:attrNameLst>
                                          <p:attrName>style.visibility</p:attrName>
                                        </p:attrNameLst>
                                      </p:cBhvr>
                                      <p:to>
                                        <p:strVal val="visible"/>
                                      </p:to>
                                    </p:set>
                                  </p:childTnLst>
                                </p:cTn>
                              </p:par>
                            </p:childTnLst>
                          </p:cTn>
                        </p:par>
                        <p:par>
                          <p:cTn id="45" fill="hold" nodeType="afterGroup">
                            <p:stCondLst>
                              <p:cond delay="500"/>
                            </p:stCondLst>
                            <p:childTnLst>
                              <p:par>
                                <p:cTn id="46" presetID="1" presetClass="entr" presetSubtype="0" fill="hold" nodeType="afterEffect">
                                  <p:stCondLst>
                                    <p:cond delay="0"/>
                                  </p:stCondLst>
                                  <p:childTnLst>
                                    <p:set>
                                      <p:cBhvr>
                                        <p:cTn id="47" dur="1" fill="hold">
                                          <p:stCondLst>
                                            <p:cond delay="499"/>
                                          </p:stCondLst>
                                        </p:cTn>
                                        <p:tgtEl>
                                          <p:spTgt spid="34"/>
                                        </p:tgtEl>
                                        <p:attrNameLst>
                                          <p:attrName>style.visibility</p:attrName>
                                        </p:attrNameLst>
                                      </p:cBhvr>
                                      <p:to>
                                        <p:strVal val="visible"/>
                                      </p:to>
                                    </p:set>
                                  </p:childTnLst>
                                </p:cTn>
                              </p:par>
                            </p:childTnLst>
                          </p:cTn>
                        </p:par>
                        <p:par>
                          <p:cTn id="48" fill="hold" nodeType="afterGroup">
                            <p:stCondLst>
                              <p:cond delay="1000"/>
                            </p:stCondLst>
                            <p:childTnLst>
                              <p:par>
                                <p:cTn id="49" presetID="1" presetClass="entr" presetSubtype="0" fill="hold" grpId="0" nodeType="afterEffect">
                                  <p:stCondLst>
                                    <p:cond delay="0"/>
                                  </p:stCondLst>
                                  <p:childTnLst>
                                    <p:set>
                                      <p:cBhvr>
                                        <p:cTn id="50" dur="1" fill="hold">
                                          <p:stCondLst>
                                            <p:cond delay="499"/>
                                          </p:stCondLst>
                                        </p:cTn>
                                        <p:tgtEl>
                                          <p:spTgt spid="30"/>
                                        </p:tgtEl>
                                        <p:attrNameLst>
                                          <p:attrName>style.visibility</p:attrName>
                                        </p:attrNameLst>
                                      </p:cBhvr>
                                      <p:to>
                                        <p:strVal val="visible"/>
                                      </p:to>
                                    </p:set>
                                  </p:childTnLst>
                                </p:cTn>
                              </p:par>
                            </p:childTnLst>
                          </p:cTn>
                        </p:par>
                      </p:childTnLst>
                    </p:cTn>
                  </p:par>
                  <p:par>
                    <p:cTn id="51" fill="hold" nodeType="clickPar">
                      <p:stCondLst>
                        <p:cond delay="indefinite"/>
                      </p:stCondLst>
                      <p:childTnLst>
                        <p:par>
                          <p:cTn id="52" fill="hold" nodeType="withGroup">
                            <p:stCondLst>
                              <p:cond delay="0"/>
                            </p:stCondLst>
                            <p:childTnLst>
                              <p:par>
                                <p:cTn id="53" presetID="1" presetClass="entr" presetSubtype="0" fill="hold" grpId="0" nodeType="clickEffect">
                                  <p:stCondLst>
                                    <p:cond delay="0"/>
                                  </p:stCondLst>
                                  <p:childTnLst>
                                    <p:set>
                                      <p:cBhvr>
                                        <p:cTn id="54" dur="1" fill="hold">
                                          <p:stCondLst>
                                            <p:cond delay="499"/>
                                          </p:stCondLst>
                                        </p:cTn>
                                        <p:tgtEl>
                                          <p:spTgt spid="39"/>
                                        </p:tgtEl>
                                        <p:attrNameLst>
                                          <p:attrName>style.visibility</p:attrName>
                                        </p:attrNameLst>
                                      </p:cBhvr>
                                      <p:to>
                                        <p:strVal val="visible"/>
                                      </p:to>
                                    </p:set>
                                  </p:childTnLst>
                                </p:cTn>
                              </p:par>
                            </p:childTnLst>
                          </p:cTn>
                        </p:par>
                      </p:childTnLst>
                    </p:cTn>
                  </p:par>
                  <p:par>
                    <p:cTn id="55" fill="hold" nodeType="clickPar">
                      <p:stCondLst>
                        <p:cond delay="indefinite"/>
                      </p:stCondLst>
                      <p:childTnLst>
                        <p:par>
                          <p:cTn id="56" fill="hold" nodeType="withGroup">
                            <p:stCondLst>
                              <p:cond delay="0"/>
                            </p:stCondLst>
                            <p:childTnLst>
                              <p:par>
                                <p:cTn id="57" presetID="1" presetClass="entr" presetSubtype="0" fill="hold" grpId="0" nodeType="clickEffect">
                                  <p:stCondLst>
                                    <p:cond delay="0"/>
                                  </p:stCondLst>
                                  <p:childTnLst>
                                    <p:set>
                                      <p:cBhvr>
                                        <p:cTn id="58" dur="1" fill="hold">
                                          <p:stCondLst>
                                            <p:cond delay="499"/>
                                          </p:stCondLst>
                                        </p:cTn>
                                        <p:tgtEl>
                                          <p:spTgt spid="31"/>
                                        </p:tgtEl>
                                        <p:attrNameLst>
                                          <p:attrName>style.visibility</p:attrName>
                                        </p:attrNameLst>
                                      </p:cBhvr>
                                      <p:to>
                                        <p:strVal val="visible"/>
                                      </p:to>
                                    </p:set>
                                  </p:childTnLst>
                                </p:cTn>
                              </p:par>
                            </p:childTnLst>
                          </p:cTn>
                        </p:par>
                        <p:par>
                          <p:cTn id="59" fill="hold" nodeType="afterGroup">
                            <p:stCondLst>
                              <p:cond delay="500"/>
                            </p:stCondLst>
                            <p:childTnLst>
                              <p:par>
                                <p:cTn id="60" presetID="1" presetClass="entr" presetSubtype="0" fill="hold" nodeType="afterEffect">
                                  <p:stCondLst>
                                    <p:cond delay="0"/>
                                  </p:stCondLst>
                                  <p:childTnLst>
                                    <p:set>
                                      <p:cBhvr>
                                        <p:cTn id="61" dur="1" fill="hold">
                                          <p:stCondLst>
                                            <p:cond delay="499"/>
                                          </p:stCondLst>
                                        </p:cTn>
                                        <p:tgtEl>
                                          <p:spTgt spid="41"/>
                                        </p:tgtEl>
                                        <p:attrNameLst>
                                          <p:attrName>style.visibility</p:attrName>
                                        </p:attrNameLst>
                                      </p:cBhvr>
                                      <p:to>
                                        <p:strVal val="visible"/>
                                      </p:to>
                                    </p:set>
                                  </p:childTnLst>
                                </p:cTn>
                              </p:par>
                            </p:childTnLst>
                          </p:cTn>
                        </p:par>
                        <p:par>
                          <p:cTn id="62" fill="hold" nodeType="afterGroup">
                            <p:stCondLst>
                              <p:cond delay="1000"/>
                            </p:stCondLst>
                            <p:childTnLst>
                              <p:par>
                                <p:cTn id="63" presetID="1" presetClass="entr" presetSubtype="0" fill="hold" grpId="0" nodeType="afterEffect">
                                  <p:stCondLst>
                                    <p:cond delay="0"/>
                                  </p:stCondLst>
                                  <p:childTnLst>
                                    <p:set>
                                      <p:cBhvr>
                                        <p:cTn id="64" dur="1" fill="hold">
                                          <p:stCondLst>
                                            <p:cond delay="499"/>
                                          </p:stCondLst>
                                        </p:cTn>
                                        <p:tgtEl>
                                          <p:spTgt spid="32"/>
                                        </p:tgtEl>
                                        <p:attrNameLst>
                                          <p:attrName>style.visibility</p:attrName>
                                        </p:attrNameLst>
                                      </p:cBhvr>
                                      <p:to>
                                        <p:strVal val="visible"/>
                                      </p:to>
                                    </p:set>
                                  </p:childTnLst>
                                </p:cTn>
                              </p:par>
                            </p:childTnLst>
                          </p:cTn>
                        </p:par>
                        <p:par>
                          <p:cTn id="65" fill="hold">
                            <p:stCondLst>
                              <p:cond delay="1500"/>
                            </p:stCondLst>
                            <p:childTnLst>
                              <p:par>
                                <p:cTn id="66" presetID="1" presetClass="entr" presetSubtype="0" fill="hold" grpId="0" nodeType="afterEffect">
                                  <p:stCondLst>
                                    <p:cond delay="0"/>
                                  </p:stCondLst>
                                  <p:childTnLst>
                                    <p:set>
                                      <p:cBhvr>
                                        <p:cTn id="67" dur="1" fill="hold">
                                          <p:stCondLst>
                                            <p:cond delay="499"/>
                                          </p:stCondLst>
                                        </p:cTn>
                                        <p:tgtEl>
                                          <p:spTgt spid="35"/>
                                        </p:tgtEl>
                                        <p:attrNameLst>
                                          <p:attrName>style.visibility</p:attrName>
                                        </p:attrNameLst>
                                      </p:cBhvr>
                                      <p:to>
                                        <p:strVal val="visible"/>
                                      </p:to>
                                    </p:set>
                                  </p:childTnLst>
                                </p:cTn>
                              </p:par>
                            </p:childTnLst>
                          </p:cTn>
                        </p:par>
                        <p:par>
                          <p:cTn id="68" fill="hold">
                            <p:stCondLst>
                              <p:cond delay="2000"/>
                            </p:stCondLst>
                            <p:childTnLst>
                              <p:par>
                                <p:cTn id="69" presetID="1" presetClass="entr" presetSubtype="0" fill="hold" grpId="0" nodeType="afterEffect">
                                  <p:stCondLst>
                                    <p:cond delay="0"/>
                                  </p:stCondLst>
                                  <p:childTnLst>
                                    <p:set>
                                      <p:cBhvr>
                                        <p:cTn id="70" dur="1" fill="hold">
                                          <p:stCondLst>
                                            <p:cond delay="499"/>
                                          </p:stCondLst>
                                        </p:cTn>
                                        <p:tgtEl>
                                          <p:spTgt spid="36"/>
                                        </p:tgtEl>
                                        <p:attrNameLst>
                                          <p:attrName>style.visibility</p:attrName>
                                        </p:attrNameLst>
                                      </p:cBhvr>
                                      <p:to>
                                        <p:strVal val="visible"/>
                                      </p:to>
                                    </p:set>
                                  </p:childTnLst>
                                </p:cTn>
                              </p:par>
                            </p:childTnLst>
                          </p:cTn>
                        </p:par>
                        <p:par>
                          <p:cTn id="71" fill="hold">
                            <p:stCondLst>
                              <p:cond delay="2500"/>
                            </p:stCondLst>
                            <p:childTnLst>
                              <p:par>
                                <p:cTn id="72" presetID="1" presetClass="entr" presetSubtype="0" fill="hold" grpId="0" nodeType="afterEffect">
                                  <p:stCondLst>
                                    <p:cond delay="0"/>
                                  </p:stCondLst>
                                  <p:childTnLst>
                                    <p:set>
                                      <p:cBhvr>
                                        <p:cTn id="73" dur="1" fill="hold">
                                          <p:stCondLst>
                                            <p:cond delay="499"/>
                                          </p:stCondLst>
                                        </p:cTn>
                                        <p:tgtEl>
                                          <p:spTgt spid="37"/>
                                        </p:tgtEl>
                                        <p:attrNameLst>
                                          <p:attrName>style.visibility</p:attrName>
                                        </p:attrNameLst>
                                      </p:cBhvr>
                                      <p:to>
                                        <p:strVal val="visible"/>
                                      </p:to>
                                    </p:set>
                                  </p:childTnLst>
                                </p:cTn>
                              </p:par>
                            </p:childTnLst>
                          </p:cTn>
                        </p:par>
                        <p:par>
                          <p:cTn id="74" fill="hold">
                            <p:stCondLst>
                              <p:cond delay="3000"/>
                            </p:stCondLst>
                            <p:childTnLst>
                              <p:par>
                                <p:cTn id="75" presetID="1" presetClass="entr" presetSubtype="0" fill="hold" grpId="0" nodeType="afterEffect">
                                  <p:stCondLst>
                                    <p:cond delay="0"/>
                                  </p:stCondLst>
                                  <p:childTnLst>
                                    <p:set>
                                      <p:cBhvr>
                                        <p:cTn id="76" dur="1" fill="hold">
                                          <p:stCondLst>
                                            <p:cond delay="499"/>
                                          </p:stCondLst>
                                        </p:cTn>
                                        <p:tgtEl>
                                          <p:spTgt spid="38"/>
                                        </p:tgtEl>
                                        <p:attrNameLst>
                                          <p:attrName>style.visibility</p:attrName>
                                        </p:attrNameLst>
                                      </p:cBhvr>
                                      <p:to>
                                        <p:strVal val="visible"/>
                                      </p:to>
                                    </p:set>
                                  </p:childTnLst>
                                </p:cTn>
                              </p:par>
                            </p:childTnLst>
                          </p:cTn>
                        </p:par>
                        <p:par>
                          <p:cTn id="77" fill="hold">
                            <p:stCondLst>
                              <p:cond delay="3500"/>
                            </p:stCondLst>
                            <p:childTnLst>
                              <p:par>
                                <p:cTn id="78" presetID="1" presetClass="entr" presetSubtype="0" fill="hold" grpId="0" nodeType="afterEffect">
                                  <p:stCondLst>
                                    <p:cond delay="0"/>
                                  </p:stCondLst>
                                  <p:childTnLst>
                                    <p:set>
                                      <p:cBhvr>
                                        <p:cTn id="79" dur="1" fill="hold">
                                          <p:stCondLst>
                                            <p:cond delay="499"/>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autoUpdateAnimBg="0"/>
      <p:bldP spid="8" grpId="0" animBg="1" autoUpdateAnimBg="0"/>
      <p:bldP spid="10" grpId="0" animBg="1" autoUpdateAnimBg="0"/>
      <p:bldP spid="11" grpId="0" animBg="1" autoUpdateAnimBg="0"/>
      <p:bldP spid="21" grpId="0" animBg="1" autoUpdateAnimBg="0"/>
      <p:bldP spid="23" grpId="0" animBg="1" autoUpdateAnimBg="0"/>
      <p:bldP spid="27" grpId="0" animBg="1" autoUpdateAnimBg="0"/>
      <p:bldP spid="28" grpId="0" autoUpdateAnimBg="0"/>
      <p:bldP spid="39" grpId="0" animBg="1" autoUpdateAnimBg="0"/>
      <p:bldP spid="25" grpId="0" animBg="1" autoUpdateAnimBg="0"/>
      <p:bldP spid="29" grpId="0" animBg="1" autoUpdateAnimBg="0"/>
      <p:bldP spid="30" grpId="0" animBg="1" autoUpdateAnimBg="0"/>
      <p:bldP spid="31" grpId="0" animBg="1" autoUpdateAnimBg="0"/>
      <p:bldP spid="32" grpId="0" animBg="1" autoUpdateAnimBg="0"/>
      <p:bldP spid="35" grpId="0" animBg="1" autoUpdateAnimBg="0"/>
      <p:bldP spid="36" grpId="0" animBg="1" autoUpdateAnimBg="0"/>
      <p:bldP spid="37" grpId="0" animBg="1" autoUpdateAnimBg="0"/>
      <p:bldP spid="38" grpId="0" animBg="1" autoUpdateAnimBg="0"/>
      <p:bldP spid="40" grpId="0" animBg="1" autoUpdateAnimBg="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9F0D6-9090-99EF-8DE9-722900A67E38}"/>
              </a:ext>
            </a:extLst>
          </p:cNvPr>
          <p:cNvSpPr>
            <a:spLocks noGrp="1"/>
          </p:cNvSpPr>
          <p:nvPr>
            <p:ph type="title"/>
          </p:nvPr>
        </p:nvSpPr>
        <p:spPr/>
        <p:txBody>
          <a:bodyPr/>
          <a:lstStyle/>
          <a:p>
            <a:r>
              <a:rPr lang="en-US" sz="3200" dirty="0"/>
              <a:t>Decision-Action/Study-Adjust Support System Design and Development</a:t>
            </a:r>
          </a:p>
        </p:txBody>
      </p:sp>
      <p:sp>
        <p:nvSpPr>
          <p:cNvPr id="3" name="Content Placeholder 2">
            <a:extLst>
              <a:ext uri="{FF2B5EF4-FFF2-40B4-BE49-F238E27FC236}">
                <a16:creationId xmlns:a16="http://schemas.microsoft.com/office/drawing/2014/main" id="{0DADB15C-1EB1-35E6-5CEC-9A1B07C154C3}"/>
              </a:ext>
            </a:extLst>
          </p:cNvPr>
          <p:cNvSpPr>
            <a:spLocks noGrp="1"/>
          </p:cNvSpPr>
          <p:nvPr>
            <p:ph idx="1"/>
          </p:nvPr>
        </p:nvSpPr>
        <p:spPr/>
        <p:txBody>
          <a:bodyPr/>
          <a:lstStyle/>
          <a:p>
            <a:pPr marL="0" indent="0">
              <a:buNone/>
            </a:pPr>
            <a:r>
              <a:rPr lang="en-US" sz="1800" b="1" dirty="0"/>
              <a:t>Key Questions and Key Points:</a:t>
            </a:r>
          </a:p>
          <a:p>
            <a:pPr marL="0" indent="0">
              <a:buNone/>
            </a:pPr>
            <a:endParaRPr lang="en-US" sz="1800" b="1" dirty="0"/>
          </a:p>
          <a:p>
            <a:r>
              <a:rPr lang="en-US" sz="1800" dirty="0"/>
              <a:t> </a:t>
            </a:r>
            <a:r>
              <a:rPr lang="en-US" sz="1800" i="1" dirty="0"/>
              <a:t>Alignment between Information Portrayal </a:t>
            </a:r>
            <a:r>
              <a:rPr lang="en-US" sz="1800" dirty="0"/>
              <a:t>(what’s portrayed and how) and the </a:t>
            </a:r>
            <a:r>
              <a:rPr lang="en-US" sz="1800" i="1" dirty="0"/>
              <a:t>‘requirements’ for decision to actions, adjustments, study-adjust driven </a:t>
            </a:r>
            <a:r>
              <a:rPr lang="en-US" sz="1800" dirty="0"/>
              <a:t>by a sense of urgency to improve performance and realize benefits is critical.</a:t>
            </a:r>
          </a:p>
          <a:p>
            <a:endParaRPr lang="en-US" sz="1800" dirty="0"/>
          </a:p>
          <a:p>
            <a:r>
              <a:rPr lang="en-US" sz="1800" dirty="0"/>
              <a:t>How do we get what is typically an inter/multidisciplinary team of people, cutting across multiple </a:t>
            </a:r>
            <a:r>
              <a:rPr lang="en-US" sz="1800" dirty="0" err="1"/>
              <a:t>functions,with</a:t>
            </a:r>
            <a:r>
              <a:rPr lang="en-US" sz="1800" dirty="0"/>
              <a:t> IT perhaps at the ‘heart’ or ‘mind’ I guess of it, to wholistically and effective improve designs for Visible Performance Measurement Systems?  What role can ISE play?</a:t>
            </a:r>
          </a:p>
          <a:p>
            <a:endParaRPr lang="en-US" sz="1800" dirty="0"/>
          </a:p>
          <a:p>
            <a:endParaRPr lang="en-US" sz="1800" dirty="0"/>
          </a:p>
        </p:txBody>
      </p:sp>
    </p:spTree>
    <p:extLst>
      <p:ext uri="{BB962C8B-B14F-4D97-AF65-F5344CB8AC3E}">
        <p14:creationId xmlns:p14="http://schemas.microsoft.com/office/powerpoint/2010/main" val="2688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sz="half" idx="1"/>
          </p:nvPr>
        </p:nvSpPr>
        <p:spPr>
          <a:xfrm>
            <a:off x="152400" y="5867626"/>
            <a:ext cx="4724400" cy="944563"/>
          </a:xfrm>
          <a:ln>
            <a:solidFill>
              <a:schemeClr val="bg1">
                <a:lumMod val="50000"/>
              </a:schemeClr>
            </a:solidFill>
          </a:ln>
        </p:spPr>
        <p:txBody>
          <a:bodyPr>
            <a:noAutofit/>
          </a:bodyPr>
          <a:lstStyle/>
          <a:p>
            <a:r>
              <a:rPr lang="en-US" sz="1400" dirty="0"/>
              <a:t> the current state process in many  large organizations splits data and analytics</a:t>
            </a:r>
          </a:p>
          <a:p>
            <a:r>
              <a:rPr lang="en-US" sz="1400" dirty="0"/>
              <a:t>Data are stored in a common place, and are trusted and available</a:t>
            </a:r>
          </a:p>
        </p:txBody>
      </p:sp>
      <p:sp>
        <p:nvSpPr>
          <p:cNvPr id="12" name="Content Placeholder 11"/>
          <p:cNvSpPr>
            <a:spLocks noGrp="1"/>
          </p:cNvSpPr>
          <p:nvPr>
            <p:ph sz="half" idx="2"/>
          </p:nvPr>
        </p:nvSpPr>
        <p:spPr>
          <a:xfrm>
            <a:off x="5329773" y="724537"/>
            <a:ext cx="3672417" cy="6030912"/>
          </a:xfrm>
          <a:ln>
            <a:solidFill>
              <a:schemeClr val="bg1">
                <a:lumMod val="50000"/>
              </a:schemeClr>
            </a:solidFill>
          </a:ln>
        </p:spPr>
        <p:txBody>
          <a:bodyPr>
            <a:normAutofit lnSpcReduction="10000"/>
          </a:bodyPr>
          <a:lstStyle/>
          <a:p>
            <a:pPr lvl="1">
              <a:spcBef>
                <a:spcPts val="600"/>
              </a:spcBef>
            </a:pPr>
            <a:endParaRPr lang="en-US" sz="1600" dirty="0"/>
          </a:p>
          <a:p>
            <a:pPr>
              <a:spcBef>
                <a:spcPts val="600"/>
              </a:spcBef>
            </a:pPr>
            <a:r>
              <a:rPr lang="en-US" sz="2000" b="1" dirty="0"/>
              <a:t>“Above the line” analyst role</a:t>
            </a:r>
          </a:p>
          <a:p>
            <a:pPr marL="800100" lvl="1" indent="-342900">
              <a:spcBef>
                <a:spcPts val="600"/>
              </a:spcBef>
              <a:buFont typeface="+mj-lt"/>
              <a:buAutoNum type="arabicPeriod"/>
            </a:pPr>
            <a:r>
              <a:rPr lang="en-US" sz="1600" dirty="0"/>
              <a:t> What are the fundamental Questions that have to be answered?</a:t>
            </a:r>
          </a:p>
          <a:p>
            <a:pPr marL="800100" lvl="1" indent="-342900">
              <a:spcBef>
                <a:spcPts val="600"/>
              </a:spcBef>
              <a:buFont typeface="+mj-lt"/>
              <a:buAutoNum type="arabicPeriod"/>
            </a:pPr>
            <a:r>
              <a:rPr lang="en-US" sz="1600" dirty="0"/>
              <a:t> What data elements do those questions require?</a:t>
            </a:r>
          </a:p>
          <a:p>
            <a:pPr marL="800100" lvl="1" indent="-342900">
              <a:spcBef>
                <a:spcPts val="600"/>
              </a:spcBef>
              <a:buFont typeface="+mj-lt"/>
              <a:buAutoNum type="arabicPeriod"/>
            </a:pPr>
            <a:r>
              <a:rPr lang="en-US" sz="1600" dirty="0"/>
              <a:t> Organize the data and facts and then export to your analytics app.</a:t>
            </a:r>
          </a:p>
          <a:p>
            <a:pPr marL="800100" lvl="1" indent="-342900">
              <a:spcBef>
                <a:spcPts val="600"/>
              </a:spcBef>
              <a:buFont typeface="+mj-lt"/>
              <a:buAutoNum type="arabicPeriod"/>
            </a:pPr>
            <a:r>
              <a:rPr lang="en-US" sz="1600" dirty="0"/>
              <a:t>Extract features from data through integration and manipulation of data that move us closer to answers. (torture the data)</a:t>
            </a:r>
          </a:p>
          <a:p>
            <a:pPr marL="800100" lvl="1" indent="-342900">
              <a:spcBef>
                <a:spcPts val="600"/>
              </a:spcBef>
              <a:buFont typeface="+mj-lt"/>
              <a:buAutoNum type="arabicPeriod"/>
            </a:pPr>
            <a:r>
              <a:rPr lang="en-US" sz="1600" dirty="0"/>
              <a:t>Apply business acumen to data &amp; analyses – create new knowledge</a:t>
            </a:r>
          </a:p>
          <a:p>
            <a:pPr marL="800100" lvl="1" indent="-342900">
              <a:spcBef>
                <a:spcPts val="600"/>
              </a:spcBef>
              <a:buFont typeface="+mj-lt"/>
              <a:buAutoNum type="arabicPeriod"/>
            </a:pPr>
            <a:r>
              <a:rPr lang="en-US" sz="1600" dirty="0"/>
              <a:t>Apply data visualization techniques to aid in telling the right story – as in life, so in business: the best story wins …</a:t>
            </a:r>
          </a:p>
          <a:p>
            <a:pPr marL="457200" lvl="1" indent="0">
              <a:spcBef>
                <a:spcPts val="600"/>
              </a:spcBef>
              <a:buNone/>
            </a:pPr>
            <a:endParaRPr lang="en-US" sz="1600" dirty="0"/>
          </a:p>
        </p:txBody>
      </p:sp>
      <p:pic>
        <p:nvPicPr>
          <p:cNvPr id="1026" name="Picture 2"/>
          <p:cNvPicPr>
            <a:picLocks noChangeAspect="1" noChangeArrowheads="1"/>
          </p:cNvPicPr>
          <p:nvPr/>
        </p:nvPicPr>
        <p:blipFill>
          <a:blip r:embed="rId3" cstate="print"/>
          <a:srcRect/>
          <a:stretch>
            <a:fillRect/>
          </a:stretch>
        </p:blipFill>
        <p:spPr bwMode="auto">
          <a:xfrm>
            <a:off x="152401" y="1208661"/>
            <a:ext cx="4044200" cy="3134965"/>
          </a:xfrm>
          <a:prstGeom prst="rect">
            <a:avLst/>
          </a:prstGeom>
          <a:noFill/>
          <a:ln w="9525">
            <a:noFill/>
            <a:miter lim="800000"/>
            <a:headEnd/>
            <a:tailEnd/>
          </a:ln>
        </p:spPr>
      </p:pic>
      <p:sp>
        <p:nvSpPr>
          <p:cNvPr id="2050" name="AutoShape 2" descr="data:image/jpeg;base64,/9j/4AAQSkZJRgABAQAAAQABAAD/2wCEAAkGBwgHBgkIBwgKCgkLDRYPDQwMDRsUFRAWIB0iIiAdHx8kKDQsJCYxJx8fLT0tMTU3Ojo6Iys/RD84QzQ5OjcBCgoKDQwNGg8PGjclHyU3Nzc3Nzc3Nzc3Nzc3Nzc3Nzc3Nzc3Nzc3Nzc3Nzc3Nzc3Nzc3Nzc3Nzc3Nzc3Nzc3N//AABEIAFoAWgMBIgACEQEDEQH/xAAbAAADAQEBAQEAAAAAAAAAAAADBAYCAAEFB//EAD0QAAICAQMDAgMGAwMNAQAAAAECAwQRAAUSEyExFEEiUWEjMkKBkaEVcbEkUmIzQ1RydIKSlaSytNLxFv/EABQBAQAAAAAAAAAAAAAAAAAAAAD/xAAUEQEAAAAAAAAAAAAAAAAAAAAA/9oADAMBAAIRAxEAPwD9Qu27SXZlSe83K2K8MNZYO32IkJJkH+t7/LQZLl9GiB/jR6snTXi1I98E/wBAdEsHG7ZGDjcmP/RaRjTEqWIS0LM0DrDVgT45DE2T3wMYJ/TQfQilvPKqPNusSk4Lu9LC/U4yf20CG3dIRBa3OxIeoxMIqqqqshUfeA+Xtro4FjniNui6xvIqEvShwSxwMkMT5Oh1zHCjgoOHRkRUWMN5sEABT2+WgY9Rf/vbv/x0dZN2yjEWLG7QgRPIGb0jZ4jJHwgnOkrEBgrtasbfVjtw0LzoJK6fhdOmSASPGD59/bTFqNay20hMLDozxScayxkERhuxH8xoDQWNxW3K0VmzdSG0EauegrGMwK2fC9w7D38a8M915EiNzcq8nWjVlmWs2VfPcFVI/CdZTr9ZjEJp5oAqPNHUiypKA4yWB+6w/XStSErHUjrW2dCtLoSvGAQmHxkeM4/roGvUbjaomelbvqweMosxqfax8xz44HY8c45Y741u1PZSDC7lfScxdTg6124gMqkHihGfi9tB6VeW40leh12mpwsJUrREg8n7kMR51r0s/BkWnaRHxz6VWBCwBzjIbQbt2biVtwkiu7igrRylJpRW4O6DwAF5efoPGqbUfucEkm23ktZhaWO3Yigmro5VQe5zk4J5A/8AzVhoJbdy81ueOX+H9EWhHHHLtj2XeTohi3wuO/EkePAxnWqaTm5W6nOVzZViY9vkrxxosTKPvE/P5/LtrV4mO9LMssaPHuWVV0ZupmqBgBe/gk/loFYP6+g8Unwra4SKJZwe8bkAq57jxoFqsE8UFO3M0E9yeGpFVd6DtHXHM9y3Pu3x+cr4HbRisjQydBy7RhUNhqzpGZTZycKT3AOewbx7++vIo5a89hlV2pcaMkIgEskeOtJyKg578QuceBjWkkV0UBo5o45neM9GwB/lCwyAMEg/uNAOaKSxBbf08DXpaO4wu1WHh1mWRVHbJOTj5nudHsHqpuL9C6HZpjEvo5Pj5RKo9u3cHWBjpqrBS0YtWZrLpPCkStIG4g9s9j8/weNcVdGlWYRoUmMShbFly5Chs4B+ugYj5xWZZOlMyxbipkEaFiB6NR4HfyRpfbYLteLZoNysQIVSDKx7bIrEqpwhk5lQQc+R/XWIxFzl6YXly+14+rzy4j73148fPtjRJFSvYhewjBop4HVo5JnyH5D7jEnPb5aAHKZIqhUVZK716MU8M8JfmrzlOx5AAjlnuD7a70cK8Ehh2uFM2XkksUTMfhn4qBh1wMH6+2tyLK1OGujxAxPARKac/JlikDgHt74P66LdcyxuYI+LLVk5HoyJHzaVG/EB5OT+ugUeuFiut6OBJYKN6GaetUMMbd044yT7KfxHwdW+pHc3sj1KM0AhO33iywFsGQGPJIPv3P6nVdoJTdfTev5XLBrwruvxSeoMOP7H2+IEY741iSZJ0mszT7Ua/UjAlj3h04OFIA5hPJB+emLPVj3K30Z7Yee6IlSGRFUYrqxJ5A+ynQXsvuFrn6idjHPHHAlexGVDmNiWLYPfGe2gxUWvwjWtIktdJI4W9Jv08hjDEKO2B/UeNewqqLFHJJbMUYcBY7UiElrBXJIOWPf30R3lewIZbFzlDLUlw8sbo6vKQO6qP7h/bQkaORWYMJYw7Qy9GZRJCxsnicfz/poM2CDRlS09mxXgh3FzEbTr1RHKAqswOSOOR3z51qxd9PPdimt7JBdeRynLdCrQlo1HccPOAD+Y0GZDHtl1C7OVqbsOb4yfth5xp2zK8M96WJuLpLYZT8iIVxoAV7EVqxHXbcqrS3L3NkoXyW4LWx3ZeJ+8gP6azDfq4gsPudWxHF6NZraTq0ZYB8nlnHfP7jR5dxaS1DJ6qlPFHYEyE20UhDAUK4+fNifz/LXqS0608SxSVXgihgEY9agKmPkMH59iP56BY2oJJbLpZgMEQVnsf/oJhGC7EKMgYByB2+o1iafb5YXjbcoDMeJiji3yScueQ7cDjI/XTFVzdr0pLtqxJGY69yZnnjWJTz5L7dwGT5647sjOlr1kMo/tEBMVhBIuZwFKg+ew0Ab08LS3q6zRmdKe4s8YYclBZMEjyNWeo7c5ni2y61smV447deGeawillJ7jGBkjio/LVjoJ6WF5dxndMcYb5dyWAwDUC/1YaTpdZpqfCG5JBUihkWKt0FjZjGR8XMhs9/Y/L661uFOKfc5wtSjJNPf6RksVRKeIqhgB3Huo/fXTh2eVbUcGJBApqtT632nAnsOQAxg/poPIdteFHCw7yWZIERy9PMawszKB3x5Y5yDo4jvAkg70Ce57UO/7a+ctSjYl6bUNtkhK0Z4nSisbYklYEEd/ZB+p1qOtt9WBgu0bfIFLNj0iljmwVwPyPbQMLVuxTV+jFuyoi2DJLypl3aWRXwQTxx2PgD217Ogiq2VsRbj1pIrEolsGAhiY8EHpn5AY7aWO3UaMc8p2yJKyvJMxl2lWKKSWPfl4GT7eBos8ENaO9DXiSKJXtcUjUKo+xXwBoHYi8u4oldJjXhIjsh0hES/Y8hj8ecsn07nXz6RYUKKrLZRVpVFSKrFASzOp7kyL/hHuNN+lkNzhcgry0rdxfs54A+cVR8YJOB3THj56FSSwdt26asJJ6sDQYHpOEkkYX4Tnl3858fPQEFa4Jnl5b2S0axkH0GOKkkdsfU68mSWCxH1dwuxoYGlZTFVLqQyqB2Qj8WlF26OOMpX2yrYkgeFpI7G2KJHiaTDNy5d2Chz/ADHjTIoReoDQbXBF8eUJ2hcp37d+Xt89AKxwiq7rVaa/ODWturWUg6ZZcciOChgct79vP01YakbMFj0VyWTEgjrbiryKvEZLLjtk+wP6artBMbjIsNyWYzGN03L4FFWSfqE1QMcU7+CTn6aW21643GCGtHN1GtrI6ptk8CRgROMsXGBn6n5acskjdcjsRuTf+FpOK8jQRv6mB1sxQnMk8sTlwnzVe/z86DVFJJKNNPV0YphDTZj6Ry/HmekCeXf4g4+mT4zrbyGQqzJGjYUMI1wpItAEgfUjP56DDLXW3xE1ZXPoYI60LOxVElcgksAe/Ij/AHT317FKkpk6ZJ6b8WPE4B9X4zoBWkVau5ygfHLV3Tm3u3GUBc/yHYaelSSTcJljMXe1NyEkRkBXopkcQQTpe16YtYpC2hMkF+NpAjFY3klUhTj3Hf8AQ6J6tDanmhkjyLTkLLzTkrRqMghSfI0Hm2mH+I1VgoJ95gX/AIRPX6Q4N3Dv2HsuP8Wlduhrtt23RV6daOVUggnjuUJEdXK9z8XHI7HwPY99N0YoZGPOeSYz3DEFivzkQAQc8dyCT8OfH49CrA24aHqHkZpIqJdxIQxOHOeQOc6DNpKNRIrEsVErOFCSRbPPIDlsKCVJxknsD89arpDLYOadVKyJyllm2meHHxABRzIyTk+M4xrILDbY1Wr0YWn2+SLFmSUYNlRj4uwIwPHz1udUkglEhsPIzzyczakwOFjiBxzjGD+2gDuFWD01iDop0Y6+4ukePhDB0wcfPuf11a6kNw+7b/2Xcv8AuTVfoJi3PVTc7HWu1YGgumVklmCsVNUIMD+bfsdArbmgjqMLW1zRRxRPGJdxEbRuE4nsFPzPvqu12gjorgkMDWrWzic+nWxYXdORYROW7LwA8s3y8/TXptUjKtd9zqSLGrTJGt4Rxs/WLLyI/L2OrDXaCJq7gJK8bLfoJixbMsI3Ppd2mypDBckY5ew+9o/rl/0yj/z9/wD01X67QSBuwes9Xz2nq8+pj+Ntx58Onnjwxnj21ja5IY4aq29y2lHgWsn2d0OGEYYE9wPOfGrLXaCJrz0m2+iFuVJgojlZJ93aIK6sGUcQD2BAP7a6O0eoOtNsjx8ZgVG7YzzlDj/N+2NW2u0EXbsVzRszTbhtolNW6DFDbDkmQqVA7DPZfl5+erTXa7Qf/9k="/>
          <p:cNvSpPr>
            <a:spLocks noChangeAspect="1" noChangeArrowheads="1"/>
          </p:cNvSpPr>
          <p:nvPr/>
        </p:nvSpPr>
        <p:spPr bwMode="auto">
          <a:xfrm>
            <a:off x="63501" y="-411163"/>
            <a:ext cx="857250" cy="857251"/>
          </a:xfrm>
          <a:prstGeom prst="rect">
            <a:avLst/>
          </a:prstGeom>
          <a:noFill/>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sz="1800">
              <a:solidFill>
                <a:prstClr val="black"/>
              </a:solidFill>
              <a:latin typeface="Calibri"/>
            </a:endParaRPr>
          </a:p>
        </p:txBody>
      </p:sp>
      <p:sp>
        <p:nvSpPr>
          <p:cNvPr id="2052" name="AutoShape 4" descr="data:image/jpeg;base64,/9j/4AAQSkZJRgABAQAAAQABAAD/2wCEAAkGBwgHBgkIBwgKCgkLDRYPDQwMDRsUFRAWIB0iIiAdHx8kKDQsJCYxJx8fLT0tMTU3Ojo6Iys/RD84QzQ5OjcBCgoKDQwNGg8PGjclHyU3Nzc3Nzc3Nzc3Nzc3Nzc3Nzc3Nzc3Nzc3Nzc3Nzc3Nzc3Nzc3Nzc3Nzc3Nzc3Nzc3N//AABEIAFoAWgMBIgACEQEDEQH/xAAbAAADAQEBAQEAAAAAAAAAAAADBAYCAAEFB//EAD0QAAICAQMDAgMGAwMNAQAAAAECAwQRAAUSEyExFEEiUWEjMkKBkaEVcbEkUmIzQ1RydIKSlaSytNLxFv/EABQBAQAAAAAAAAAAAAAAAAAAAAD/xAAUEQEAAAAAAAAAAAAAAAAAAAAA/9oADAMBAAIRAxEAPwD9Qu27SXZlSe83K2K8MNZYO32IkJJkH+t7/LQZLl9GiB/jR6snTXi1I98E/wBAdEsHG7ZGDjcmP/RaRjTEqWIS0LM0DrDVgT45DE2T3wMYJ/TQfQilvPKqPNusSk4Lu9LC/U4yf20CG3dIRBa3OxIeoxMIqqqqshUfeA+Xtro4FjniNui6xvIqEvShwSxwMkMT5Oh1zHCjgoOHRkRUWMN5sEABT2+WgY9Rf/vbv/x0dZN2yjEWLG7QgRPIGb0jZ4jJHwgnOkrEBgrtasbfVjtw0LzoJK6fhdOmSASPGD59/bTFqNay20hMLDozxScayxkERhuxH8xoDQWNxW3K0VmzdSG0EauegrGMwK2fC9w7D38a8M915EiNzcq8nWjVlmWs2VfPcFVI/CdZTr9ZjEJp5oAqPNHUiypKA4yWB+6w/XStSErHUjrW2dCtLoSvGAQmHxkeM4/roGvUbjaomelbvqweMosxqfax8xz44HY8c45Y741u1PZSDC7lfScxdTg6124gMqkHihGfi9tB6VeW40leh12mpwsJUrREg8n7kMR51r0s/BkWnaRHxz6VWBCwBzjIbQbt2biVtwkiu7igrRylJpRW4O6DwAF5efoPGqbUfucEkm23ktZhaWO3Yigmro5VQe5zk4J5A/8AzVhoJbdy81ueOX+H9EWhHHHLtj2XeTohi3wuO/EkePAxnWqaTm5W6nOVzZViY9vkrxxosTKPvE/P5/LtrV4mO9LMssaPHuWVV0ZupmqBgBe/gk/loFYP6+g8Unwra4SKJZwe8bkAq57jxoFqsE8UFO3M0E9yeGpFVd6DtHXHM9y3Pu3x+cr4HbRisjQydBy7RhUNhqzpGZTZycKT3AOewbx7++vIo5a89hlV2pcaMkIgEskeOtJyKg578QuceBjWkkV0UBo5o45neM9GwB/lCwyAMEg/uNAOaKSxBbf08DXpaO4wu1WHh1mWRVHbJOTj5nudHsHqpuL9C6HZpjEvo5Pj5RKo9u3cHWBjpqrBS0YtWZrLpPCkStIG4g9s9j8/weNcVdGlWYRoUmMShbFly5Chs4B+ugYj5xWZZOlMyxbipkEaFiB6NR4HfyRpfbYLteLZoNysQIVSDKx7bIrEqpwhk5lQQc+R/XWIxFzl6YXly+14+rzy4j73148fPtjRJFSvYhewjBop4HVo5JnyH5D7jEnPb5aAHKZIqhUVZK716MU8M8JfmrzlOx5AAjlnuD7a70cK8Ehh2uFM2XkksUTMfhn4qBh1wMH6+2tyLK1OGujxAxPARKac/JlikDgHt74P66LdcyxuYI+LLVk5HoyJHzaVG/EB5OT+ugUeuFiut6OBJYKN6GaetUMMbd044yT7KfxHwdW+pHc3sj1KM0AhO33iywFsGQGPJIPv3P6nVdoJTdfTev5XLBrwruvxSeoMOP7H2+IEY741iSZJ0mszT7Ua/UjAlj3h04OFIA5hPJB+emLPVj3K30Z7Yee6IlSGRFUYrqxJ5A+ynQXsvuFrn6idjHPHHAlexGVDmNiWLYPfGe2gxUWvwjWtIktdJI4W9Jv08hjDEKO2B/UeNewqqLFHJJbMUYcBY7UiElrBXJIOWPf30R3lewIZbFzlDLUlw8sbo6vKQO6qP7h/bQkaORWYMJYw7Qy9GZRJCxsnicfz/poM2CDRlS09mxXgh3FzEbTr1RHKAqswOSOOR3z51qxd9PPdimt7JBdeRynLdCrQlo1HccPOAD+Y0GZDHtl1C7OVqbsOb4yfth5xp2zK8M96WJuLpLYZT8iIVxoAV7EVqxHXbcqrS3L3NkoXyW4LWx3ZeJ+8gP6azDfq4gsPudWxHF6NZraTq0ZYB8nlnHfP7jR5dxaS1DJ6qlPFHYEyE20UhDAUK4+fNifz/LXqS0608SxSVXgihgEY9agKmPkMH59iP56BY2oJJbLpZgMEQVnsf/oJhGC7EKMgYByB2+o1iafb5YXjbcoDMeJiji3yScueQ7cDjI/XTFVzdr0pLtqxJGY69yZnnjWJTz5L7dwGT5647sjOlr1kMo/tEBMVhBIuZwFKg+ew0Ab08LS3q6zRmdKe4s8YYclBZMEjyNWeo7c5ni2y61smV447deGeawillJ7jGBkjio/LVjoJ6WF5dxndMcYb5dyWAwDUC/1YaTpdZpqfCG5JBUihkWKt0FjZjGR8XMhs9/Y/L661uFOKfc5wtSjJNPf6RksVRKeIqhgB3Huo/fXTh2eVbUcGJBApqtT632nAnsOQAxg/poPIdteFHCw7yWZIERy9PMawszKB3x5Y5yDo4jvAkg70Ce57UO/7a+ctSjYl6bUNtkhK0Z4nSisbYklYEEd/ZB+p1qOtt9WBgu0bfIFLNj0iljmwVwPyPbQMLVuxTV+jFuyoi2DJLypl3aWRXwQTxx2PgD217Ogiq2VsRbj1pIrEolsGAhiY8EHpn5AY7aWO3UaMc8p2yJKyvJMxl2lWKKSWPfl4GT7eBos8ENaO9DXiSKJXtcUjUKo+xXwBoHYi8u4oldJjXhIjsh0hES/Y8hj8ecsn07nXz6RYUKKrLZRVpVFSKrFASzOp7kyL/hHuNN+lkNzhcgry0rdxfs54A+cVR8YJOB3THj56FSSwdt26asJJ6sDQYHpOEkkYX4Tnl3858fPQEFa4Jnl5b2S0axkH0GOKkkdsfU68mSWCxH1dwuxoYGlZTFVLqQyqB2Qj8WlF26OOMpX2yrYkgeFpI7G2KJHiaTDNy5d2Chz/ADHjTIoReoDQbXBF8eUJ2hcp37d+Xt89AKxwiq7rVaa/ODWturWUg6ZZcciOChgct79vP01YakbMFj0VyWTEgjrbiryKvEZLLjtk+wP6artBMbjIsNyWYzGN03L4FFWSfqE1QMcU7+CTn6aW21643GCGtHN1GtrI6ptk8CRgROMsXGBn6n5acskjdcjsRuTf+FpOK8jQRv6mB1sxQnMk8sTlwnzVe/z86DVFJJKNNPV0YphDTZj6Ry/HmekCeXf4g4+mT4zrbyGQqzJGjYUMI1wpItAEgfUjP56DDLXW3xE1ZXPoYI60LOxVElcgksAe/Ij/AHT317FKkpk6ZJ6b8WPE4B9X4zoBWkVau5ygfHLV3Tm3u3GUBc/yHYaelSSTcJljMXe1NyEkRkBXopkcQQTpe16YtYpC2hMkF+NpAjFY3klUhTj3Hf8AQ6J6tDanmhkjyLTkLLzTkrRqMghSfI0Hm2mH+I1VgoJ95gX/AIRPX6Q4N3Dv2HsuP8Wlduhrtt23RV6daOVUggnjuUJEdXK9z8XHI7HwPY99N0YoZGPOeSYz3DEFivzkQAQc8dyCT8OfH49CrA24aHqHkZpIqJdxIQxOHOeQOc6DNpKNRIrEsVErOFCSRbPPIDlsKCVJxknsD89arpDLYOadVKyJyllm2meHHxABRzIyTk+M4xrILDbY1Wr0YWn2+SLFmSUYNlRj4uwIwPHz1udUkglEhsPIzzyczakwOFjiBxzjGD+2gDuFWD01iDop0Y6+4ukePhDB0wcfPuf11a6kNw+7b/2Xcv8AuTVfoJi3PVTc7HWu1YGgumVklmCsVNUIMD+bfsdArbmgjqMLW1zRRxRPGJdxEbRuE4nsFPzPvqu12gjorgkMDWrWzic+nWxYXdORYROW7LwA8s3y8/TXptUjKtd9zqSLGrTJGt4Rxs/WLLyI/L2OrDXaCJq7gJK8bLfoJixbMsI3Ppd2mypDBckY5ew+9o/rl/0yj/z9/wD01X67QSBuwes9Xz2nq8+pj+Ntx58Onnjwxnj21ja5IY4aq29y2lHgWsn2d0OGEYYE9wPOfGrLXaCJrz0m2+iFuVJgojlZJ93aIK6sGUcQD2BAP7a6O0eoOtNsjx8ZgVG7YzzlDj/N+2NW2u0EXbsVzRszTbhtolNW6DFDbDkmQqVA7DPZfl5+erTXa7Qf/9k="/>
          <p:cNvSpPr>
            <a:spLocks noChangeAspect="1" noChangeArrowheads="1"/>
          </p:cNvSpPr>
          <p:nvPr/>
        </p:nvSpPr>
        <p:spPr bwMode="auto">
          <a:xfrm>
            <a:off x="63501" y="-411163"/>
            <a:ext cx="857250" cy="857251"/>
          </a:xfrm>
          <a:prstGeom prst="rect">
            <a:avLst/>
          </a:prstGeom>
          <a:noFill/>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sz="1800">
              <a:solidFill>
                <a:prstClr val="black"/>
              </a:solidFill>
              <a:latin typeface="Calibri"/>
            </a:endParaRPr>
          </a:p>
        </p:txBody>
      </p:sp>
      <p:cxnSp>
        <p:nvCxnSpPr>
          <p:cNvPr id="9" name="Straight Connector 8"/>
          <p:cNvCxnSpPr/>
          <p:nvPr/>
        </p:nvCxnSpPr>
        <p:spPr>
          <a:xfrm>
            <a:off x="762000" y="2986239"/>
            <a:ext cx="28956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505200" y="2706083"/>
            <a:ext cx="0" cy="533400"/>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14" name="Content Placeholder 10"/>
          <p:cNvSpPr txBox="1">
            <a:spLocks/>
          </p:cNvSpPr>
          <p:nvPr/>
        </p:nvSpPr>
        <p:spPr>
          <a:xfrm>
            <a:off x="177800" y="4496026"/>
            <a:ext cx="4698999" cy="1173163"/>
          </a:xfrm>
          <a:prstGeom prst="rect">
            <a:avLst/>
          </a:prstGeom>
          <a:ln>
            <a:solidFill>
              <a:schemeClr val="bg1">
                <a:lumMod val="50000"/>
              </a:schemeClr>
            </a:solidFill>
          </a:ln>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fontAlgn="auto">
              <a:spcAft>
                <a:spcPts val="0"/>
              </a:spcAft>
            </a:pPr>
            <a:r>
              <a:rPr lang="en-US" sz="1600" dirty="0"/>
              <a:t> Most ISE/ILSS Process Improvement Projects require that the ISE/Belt do both roles, certification requires that</a:t>
            </a:r>
          </a:p>
          <a:p>
            <a:pPr fontAlgn="auto">
              <a:spcAft>
                <a:spcPts val="0"/>
              </a:spcAft>
            </a:pPr>
            <a:r>
              <a:rPr lang="en-US" sz="1600" dirty="0"/>
              <a:t>Data is almost never stored in a common place and are not trusted nor available</a:t>
            </a:r>
          </a:p>
        </p:txBody>
      </p:sp>
      <p:pic>
        <p:nvPicPr>
          <p:cNvPr id="30722" name="Picture 2" descr="See the source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18918" y="2426639"/>
            <a:ext cx="1494367" cy="1119199"/>
          </a:xfrm>
          <a:prstGeom prst="rect">
            <a:avLst/>
          </a:prstGeom>
          <a:noFill/>
          <a:extLst>
            <a:ext uri="{909E8E84-426E-40DD-AFC4-6F175D3DCCD1}">
              <a14:hiddenFill xmlns:a14="http://schemas.microsoft.com/office/drawing/2010/main">
                <a:solidFill>
                  <a:srgbClr val="FFFFFF"/>
                </a:solidFill>
              </a14:hiddenFill>
            </a:ext>
          </a:extLst>
        </p:spPr>
      </p:pic>
      <p:sp>
        <p:nvSpPr>
          <p:cNvPr id="4" name="Right Arrow 3"/>
          <p:cNvSpPr/>
          <p:nvPr/>
        </p:nvSpPr>
        <p:spPr>
          <a:xfrm rot="16200000">
            <a:off x="4325038" y="5426872"/>
            <a:ext cx="489203"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77801" y="153037"/>
            <a:ext cx="4923368" cy="685800"/>
          </a:xfrm>
        </p:spPr>
        <p:txBody>
          <a:bodyPr>
            <a:noAutofit/>
          </a:bodyPr>
          <a:lstStyle/>
          <a:p>
            <a:r>
              <a:rPr lang="en-US" sz="2400" dirty="0"/>
              <a:t>Introducing the OA Triangle Model</a:t>
            </a:r>
          </a:p>
        </p:txBody>
      </p:sp>
      <p:sp>
        <p:nvSpPr>
          <p:cNvPr id="3" name="Rectangle 2">
            <a:extLst>
              <a:ext uri="{FF2B5EF4-FFF2-40B4-BE49-F238E27FC236}">
                <a16:creationId xmlns:a16="http://schemas.microsoft.com/office/drawing/2014/main" id="{C1764838-A0B5-4E58-B7BF-C4C82F4AC87C}"/>
              </a:ext>
            </a:extLst>
          </p:cNvPr>
          <p:cNvSpPr/>
          <p:nvPr/>
        </p:nvSpPr>
        <p:spPr>
          <a:xfrm>
            <a:off x="5329773" y="1"/>
            <a:ext cx="3636426" cy="685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The Basic Roadmap for the OA Triangle</a:t>
            </a:r>
          </a:p>
        </p:txBody>
      </p:sp>
      <p:sp>
        <p:nvSpPr>
          <p:cNvPr id="5" name="Rectangle 4">
            <a:extLst>
              <a:ext uri="{FF2B5EF4-FFF2-40B4-BE49-F238E27FC236}">
                <a16:creationId xmlns:a16="http://schemas.microsoft.com/office/drawing/2014/main" id="{7364D400-C3D8-A538-A517-DC599D21774A}"/>
              </a:ext>
            </a:extLst>
          </p:cNvPr>
          <p:cNvSpPr/>
          <p:nvPr/>
        </p:nvSpPr>
        <p:spPr>
          <a:xfrm>
            <a:off x="3599356" y="1860237"/>
            <a:ext cx="1672173" cy="413987"/>
          </a:xfrm>
          <a:prstGeom prst="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Follow the ‘yellow-brick’ road</a:t>
            </a:r>
          </a:p>
        </p:txBody>
      </p:sp>
    </p:spTree>
    <p:extLst>
      <p:ext uri="{BB962C8B-B14F-4D97-AF65-F5344CB8AC3E}">
        <p14:creationId xmlns:p14="http://schemas.microsoft.com/office/powerpoint/2010/main" val="30803658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le 1"/>
          <p:cNvSpPr>
            <a:spLocks noGrp="1"/>
          </p:cNvSpPr>
          <p:nvPr>
            <p:ph type="title"/>
          </p:nvPr>
        </p:nvSpPr>
        <p:spPr>
          <a:xfrm>
            <a:off x="457200" y="174482"/>
            <a:ext cx="7886700" cy="1325563"/>
          </a:xfrm>
        </p:spPr>
        <p:txBody>
          <a:bodyPr/>
          <a:lstStyle/>
          <a:p>
            <a:r>
              <a:rPr lang="en-US" altLang="en-US" sz="2400" dirty="0"/>
              <a:t>Operational Analytics enables us to understand this causal linkage to Benefits Realization and accelerates this causal path</a:t>
            </a:r>
          </a:p>
        </p:txBody>
      </p:sp>
      <p:sp>
        <p:nvSpPr>
          <p:cNvPr id="4" name="Text Placeholder 3">
            <a:extLst>
              <a:ext uri="{FF2B5EF4-FFF2-40B4-BE49-F238E27FC236}">
                <a16:creationId xmlns:a16="http://schemas.microsoft.com/office/drawing/2014/main" id="{C05BD703-CFC6-477D-AB83-C6C52C592504}"/>
              </a:ext>
            </a:extLst>
          </p:cNvPr>
          <p:cNvSpPr>
            <a:spLocks noGrp="1"/>
          </p:cNvSpPr>
          <p:nvPr>
            <p:ph type="body" idx="1"/>
          </p:nvPr>
        </p:nvSpPr>
        <p:spPr/>
        <p:txBody>
          <a:bodyPr/>
          <a:lstStyle/>
          <a:p>
            <a:endParaRPr lang="en-US"/>
          </a:p>
        </p:txBody>
      </p:sp>
      <p:sp>
        <p:nvSpPr>
          <p:cNvPr id="6" name="Text Placeholder 5">
            <a:extLst>
              <a:ext uri="{FF2B5EF4-FFF2-40B4-BE49-F238E27FC236}">
                <a16:creationId xmlns:a16="http://schemas.microsoft.com/office/drawing/2014/main" id="{19FD86B1-DEC5-4753-BAFC-6E4D229574F3}"/>
              </a:ext>
            </a:extLst>
          </p:cNvPr>
          <p:cNvSpPr>
            <a:spLocks noGrp="1"/>
          </p:cNvSpPr>
          <p:nvPr>
            <p:ph type="body" sz="quarter" idx="3"/>
          </p:nvPr>
        </p:nvSpPr>
        <p:spPr/>
        <p:txBody>
          <a:bodyPr/>
          <a:lstStyle/>
          <a:p>
            <a:endParaRPr lang="en-US"/>
          </a:p>
        </p:txBody>
      </p:sp>
      <p:pic>
        <p:nvPicPr>
          <p:cNvPr id="107523" name="Picture 2" descr="Image result for accelerating benefits realization imag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552480"/>
            <a:ext cx="8229600" cy="352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3733800" y="4114800"/>
            <a:ext cx="1676400" cy="10858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50" dirty="0">
                <a:solidFill>
                  <a:schemeClr val="bg1"/>
                </a:solidFill>
              </a:rPr>
              <a:t>Organizational Adoption &amp; Alignment to Solution(s)</a:t>
            </a:r>
          </a:p>
        </p:txBody>
      </p:sp>
      <p:sp>
        <p:nvSpPr>
          <p:cNvPr id="2" name="Rectangle 1">
            <a:extLst>
              <a:ext uri="{FF2B5EF4-FFF2-40B4-BE49-F238E27FC236}">
                <a16:creationId xmlns:a16="http://schemas.microsoft.com/office/drawing/2014/main" id="{40FCD31C-7ACB-4789-9852-5CCE62C1442D}"/>
              </a:ext>
            </a:extLst>
          </p:cNvPr>
          <p:cNvSpPr/>
          <p:nvPr/>
        </p:nvSpPr>
        <p:spPr>
          <a:xfrm>
            <a:off x="685800" y="5305520"/>
            <a:ext cx="7772400" cy="86668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bg1"/>
                </a:solidFill>
              </a:rPr>
              <a:t>By What Method and How will We Know? </a:t>
            </a:r>
          </a:p>
        </p:txBody>
      </p:sp>
    </p:spTree>
    <p:extLst>
      <p:ext uri="{BB962C8B-B14F-4D97-AF65-F5344CB8AC3E}">
        <p14:creationId xmlns:p14="http://schemas.microsoft.com/office/powerpoint/2010/main" val="22837360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2B63CF-A872-4D68-BBC7-6D8062993717}"/>
              </a:ext>
            </a:extLst>
          </p:cNvPr>
          <p:cNvSpPr>
            <a:spLocks noGrp="1"/>
          </p:cNvSpPr>
          <p:nvPr>
            <p:ph type="sldNum" sz="quarter" idx="12"/>
          </p:nvPr>
        </p:nvSpPr>
        <p:spPr/>
        <p:txBody>
          <a:bodyPr/>
          <a:lstStyle/>
          <a:p>
            <a:fld id="{602F7A02-EF0D-4D82-9BFD-3DDF074AABBD}" type="slidenum">
              <a:rPr lang="en-CA" smtClean="0"/>
              <a:t>49</a:t>
            </a:fld>
            <a:endParaRPr lang="en-CA" dirty="0"/>
          </a:p>
        </p:txBody>
      </p:sp>
      <p:pic>
        <p:nvPicPr>
          <p:cNvPr id="6" name="Picture 5" descr="A picture containing text, map&#10;&#10;Description automatically generated">
            <a:extLst>
              <a:ext uri="{FF2B5EF4-FFF2-40B4-BE49-F238E27FC236}">
                <a16:creationId xmlns:a16="http://schemas.microsoft.com/office/drawing/2014/main" id="{757CE554-2657-4B16-BA8F-5D9E65E71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0260" y="1812708"/>
            <a:ext cx="3811809" cy="3811809"/>
          </a:xfrm>
          <a:prstGeom prst="rect">
            <a:avLst/>
          </a:prstGeom>
        </p:spPr>
      </p:pic>
      <p:pic>
        <p:nvPicPr>
          <p:cNvPr id="5" name="Picture 4" descr="A close up of a logo&#10;&#10;Description automatically generated">
            <a:extLst>
              <a:ext uri="{FF2B5EF4-FFF2-40B4-BE49-F238E27FC236}">
                <a16:creationId xmlns:a16="http://schemas.microsoft.com/office/drawing/2014/main" id="{049F791E-9A0D-4F3D-ADD3-53EF87BF1C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8898" y="1509287"/>
            <a:ext cx="5234156" cy="2363813"/>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37708129-4383-47E5-ADD3-E2BA2410DF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19800" y="4171920"/>
            <a:ext cx="1233190" cy="1885610"/>
          </a:xfrm>
          <a:prstGeom prst="rect">
            <a:avLst/>
          </a:prstGeom>
          <a:ln>
            <a:solidFill>
              <a:schemeClr val="tx1"/>
            </a:solidFill>
          </a:ln>
        </p:spPr>
      </p:pic>
      <p:sp>
        <p:nvSpPr>
          <p:cNvPr id="9" name="Title 1">
            <a:extLst>
              <a:ext uri="{FF2B5EF4-FFF2-40B4-BE49-F238E27FC236}">
                <a16:creationId xmlns:a16="http://schemas.microsoft.com/office/drawing/2014/main" id="{34020909-B335-4740-B2D4-7A86DAD00B92}"/>
              </a:ext>
            </a:extLst>
          </p:cNvPr>
          <p:cNvSpPr>
            <a:spLocks noGrp="1"/>
          </p:cNvSpPr>
          <p:nvPr>
            <p:ph type="title"/>
          </p:nvPr>
        </p:nvSpPr>
        <p:spPr>
          <a:xfrm>
            <a:off x="574001" y="24442"/>
            <a:ext cx="7886700" cy="1290274"/>
          </a:xfrm>
        </p:spPr>
        <p:txBody>
          <a:bodyPr/>
          <a:lstStyle/>
          <a:p>
            <a:r>
              <a:rPr lang="en-US" dirty="0"/>
              <a:t>How can you do this really fast?  </a:t>
            </a:r>
            <a:endParaRPr lang="en-CA" dirty="0"/>
          </a:p>
        </p:txBody>
      </p:sp>
      <p:pic>
        <p:nvPicPr>
          <p:cNvPr id="19" name="Graphic 18" descr="Back RTL">
            <a:extLst>
              <a:ext uri="{FF2B5EF4-FFF2-40B4-BE49-F238E27FC236}">
                <a16:creationId xmlns:a16="http://schemas.microsoft.com/office/drawing/2014/main" id="{D29AF268-4881-4A68-AEA4-C09BBF714F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81986">
            <a:off x="2547460" y="1129923"/>
            <a:ext cx="1190240" cy="1190240"/>
          </a:xfrm>
          <a:prstGeom prst="rect">
            <a:avLst/>
          </a:prstGeom>
        </p:spPr>
      </p:pic>
      <p:pic>
        <p:nvPicPr>
          <p:cNvPr id="20" name="Graphic 19" descr="Back RTL">
            <a:extLst>
              <a:ext uri="{FF2B5EF4-FFF2-40B4-BE49-F238E27FC236}">
                <a16:creationId xmlns:a16="http://schemas.microsoft.com/office/drawing/2014/main" id="{D42861EA-A4F0-4655-AE9D-2D1C1C4AC36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210876">
            <a:off x="3922231" y="3567611"/>
            <a:ext cx="1190240" cy="1190240"/>
          </a:xfrm>
          <a:prstGeom prst="rect">
            <a:avLst/>
          </a:prstGeom>
        </p:spPr>
      </p:pic>
    </p:spTree>
    <p:extLst>
      <p:ext uri="{BB962C8B-B14F-4D97-AF65-F5344CB8AC3E}">
        <p14:creationId xmlns:p14="http://schemas.microsoft.com/office/powerpoint/2010/main" val="1857771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172E6-EB4D-4CA9-B032-D89C0DD951AC}"/>
              </a:ext>
            </a:extLst>
          </p:cNvPr>
          <p:cNvSpPr>
            <a:spLocks noGrp="1"/>
          </p:cNvSpPr>
          <p:nvPr>
            <p:ph type="title"/>
          </p:nvPr>
        </p:nvSpPr>
        <p:spPr>
          <a:xfrm>
            <a:off x="439935" y="413646"/>
            <a:ext cx="8264129" cy="600920"/>
          </a:xfrm>
        </p:spPr>
        <p:txBody>
          <a:bodyPr>
            <a:noAutofit/>
          </a:bodyPr>
          <a:lstStyle/>
          <a:p>
            <a:r>
              <a:rPr lang="en-US" sz="2100" dirty="0"/>
              <a:t>Getting to Visualizations that create insights (aha moments) that provoke timely decisions and actions and improvements is the key</a:t>
            </a:r>
            <a:endParaRPr lang="en-CA" sz="2100" dirty="0"/>
          </a:p>
        </p:txBody>
      </p:sp>
      <p:sp>
        <p:nvSpPr>
          <p:cNvPr id="4" name="Slide Number Placeholder 3">
            <a:extLst>
              <a:ext uri="{FF2B5EF4-FFF2-40B4-BE49-F238E27FC236}">
                <a16:creationId xmlns:a16="http://schemas.microsoft.com/office/drawing/2014/main" id="{98681A5D-5099-4F5A-B20A-B41465BD82BD}"/>
              </a:ext>
            </a:extLst>
          </p:cNvPr>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02F7A02-EF0D-4D82-9BFD-3DDF074AABBD}" type="slidenum">
              <a:rPr kumimoji="0" lang="en-CA" sz="900" b="0" i="0" u="none" strike="noStrike" kern="1200" cap="none" spc="0" normalizeH="0" baseline="0" noProof="0" smtClean="0">
                <a:ln>
                  <a:noFill/>
                </a:ln>
                <a:solidFill>
                  <a:prstClr val="black">
                    <a:tint val="75000"/>
                  </a:prstClr>
                </a:solidFill>
                <a:effectLst/>
                <a:uLnTx/>
                <a:uFillTx/>
                <a:latin typeface="Open Sans"/>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0</a:t>
            </a:fld>
            <a:endParaRPr kumimoji="0" lang="en-CA" sz="900" b="0" i="0" u="none" strike="noStrike" kern="1200" cap="none" spc="0" normalizeH="0" baseline="0" noProof="0" dirty="0">
              <a:ln>
                <a:noFill/>
              </a:ln>
              <a:solidFill>
                <a:prstClr val="black">
                  <a:tint val="75000"/>
                </a:prstClr>
              </a:solidFill>
              <a:effectLst/>
              <a:uLnTx/>
              <a:uFillTx/>
              <a:latin typeface="Open Sans"/>
              <a:ea typeface="+mn-ea"/>
              <a:cs typeface="+mn-cs"/>
            </a:endParaRPr>
          </a:p>
        </p:txBody>
      </p:sp>
      <p:pic>
        <p:nvPicPr>
          <p:cNvPr id="13" name="Picture 12">
            <a:extLst>
              <a:ext uri="{FF2B5EF4-FFF2-40B4-BE49-F238E27FC236}">
                <a16:creationId xmlns:a16="http://schemas.microsoft.com/office/drawing/2014/main" id="{2D6B5E61-311A-4087-969B-D1CED99EABA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5268" y="6218636"/>
            <a:ext cx="2483698" cy="164665"/>
          </a:xfrm>
          <a:prstGeom prst="rect">
            <a:avLst/>
          </a:prstGeom>
        </p:spPr>
      </p:pic>
      <p:pic>
        <p:nvPicPr>
          <p:cNvPr id="19" name="Picture 2" descr="http://community.qlikview.com/servlet/JiveServlet/showImage/38-2354-7987/Analysis%2BLatency.PNG">
            <a:extLst>
              <a:ext uri="{FF2B5EF4-FFF2-40B4-BE49-F238E27FC236}">
                <a16:creationId xmlns:a16="http://schemas.microsoft.com/office/drawing/2014/main" id="{C722F620-7C0D-4868-B175-317B4B45599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567" y="1296017"/>
            <a:ext cx="4815466" cy="2830714"/>
          </a:xfrm>
          <a:prstGeom prst="rect">
            <a:avLst/>
          </a:prstGeom>
          <a:noFill/>
        </p:spPr>
      </p:pic>
      <p:grpSp>
        <p:nvGrpSpPr>
          <p:cNvPr id="20" name="Group 19">
            <a:extLst>
              <a:ext uri="{FF2B5EF4-FFF2-40B4-BE49-F238E27FC236}">
                <a16:creationId xmlns:a16="http://schemas.microsoft.com/office/drawing/2014/main" id="{A565A9EC-7D77-4424-9C33-3CA5D15B4ADA}"/>
              </a:ext>
            </a:extLst>
          </p:cNvPr>
          <p:cNvGrpSpPr/>
          <p:nvPr/>
        </p:nvGrpSpPr>
        <p:grpSpPr>
          <a:xfrm>
            <a:off x="5127414" y="2474226"/>
            <a:ext cx="3352800" cy="1909549"/>
            <a:chOff x="4800600" y="2514600"/>
            <a:chExt cx="4044950" cy="3135313"/>
          </a:xfrm>
        </p:grpSpPr>
        <p:pic>
          <p:nvPicPr>
            <p:cNvPr id="21" name="Picture 2">
              <a:extLst>
                <a:ext uri="{FF2B5EF4-FFF2-40B4-BE49-F238E27FC236}">
                  <a16:creationId xmlns:a16="http://schemas.microsoft.com/office/drawing/2014/main" id="{B79618EE-9FBE-43D8-B310-D4C51E1773B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800600" y="2514600"/>
              <a:ext cx="4044950" cy="313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Connector 21">
              <a:extLst>
                <a:ext uri="{FF2B5EF4-FFF2-40B4-BE49-F238E27FC236}">
                  <a16:creationId xmlns:a16="http://schemas.microsoft.com/office/drawing/2014/main" id="{5CE2CCB5-B643-42D3-835D-A44A15A8164B}"/>
                </a:ext>
              </a:extLst>
            </p:cNvPr>
            <p:cNvCxnSpPr/>
            <p:nvPr/>
          </p:nvCxnSpPr>
          <p:spPr>
            <a:xfrm>
              <a:off x="5029199" y="4267200"/>
              <a:ext cx="35052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Up Arrow 10">
              <a:extLst>
                <a:ext uri="{FF2B5EF4-FFF2-40B4-BE49-F238E27FC236}">
                  <a16:creationId xmlns:a16="http://schemas.microsoft.com/office/drawing/2014/main" id="{C7DFDB5F-A410-4E77-8DC6-690869297D0A}"/>
                </a:ext>
              </a:extLst>
            </p:cNvPr>
            <p:cNvSpPr/>
            <p:nvPr/>
          </p:nvSpPr>
          <p:spPr>
            <a:xfrm>
              <a:off x="7848600" y="3103848"/>
              <a:ext cx="484632" cy="978408"/>
            </a:xfrm>
            <a:prstGeom prst="upArrow">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1800">
                <a:solidFill>
                  <a:srgbClr val="FFFFFF"/>
                </a:solidFill>
              </a:endParaRPr>
            </a:p>
          </p:txBody>
        </p:sp>
      </p:grpSp>
      <p:sp>
        <p:nvSpPr>
          <p:cNvPr id="24" name="Rectangle 23">
            <a:extLst>
              <a:ext uri="{FF2B5EF4-FFF2-40B4-BE49-F238E27FC236}">
                <a16:creationId xmlns:a16="http://schemas.microsoft.com/office/drawing/2014/main" id="{FB0033A8-A525-4CD7-9D36-C762174413F8}"/>
              </a:ext>
            </a:extLst>
          </p:cNvPr>
          <p:cNvSpPr/>
          <p:nvPr/>
        </p:nvSpPr>
        <p:spPr>
          <a:xfrm>
            <a:off x="3315692" y="4517035"/>
            <a:ext cx="5642414" cy="1981312"/>
          </a:xfrm>
          <a:prstGeom prst="rect">
            <a:avLst/>
          </a:prstGeom>
        </p:spPr>
        <p:txBody>
          <a:bodyPr wrap="square">
            <a:spAutoFit/>
          </a:bodyPr>
          <a:lstStyle/>
          <a:p>
            <a:pPr marL="0" marR="0" lvl="0" indent="0" algn="l" defTabSz="685800" rtl="0" eaLnBrk="1" fontAlgn="auto" latinLnBrk="0" hangingPunct="1">
              <a:lnSpc>
                <a:spcPct val="150000"/>
              </a:lnSpc>
              <a:spcBef>
                <a:spcPts val="0"/>
              </a:spcBef>
              <a:spcAft>
                <a:spcPts val="0"/>
              </a:spcAft>
              <a:buClr>
                <a:prstClr val="black"/>
              </a:buClr>
              <a:buSzTx/>
              <a:buFontTx/>
              <a:buNone/>
              <a:tabLst/>
              <a:defRPr/>
            </a:pPr>
            <a:r>
              <a:rPr lang="en-US" sz="1200" b="1" kern="0" dirty="0">
                <a:solidFill>
                  <a:srgbClr val="C00000"/>
                </a:solidFill>
                <a:latin typeface="Open Sans"/>
              </a:rPr>
              <a:t>Must do, Accelerate ability to cycle bottom to top on the OA Triangle</a:t>
            </a:r>
            <a:endParaRPr kumimoji="0" lang="en-US" sz="1200" b="1" i="0" u="none" strike="noStrike" kern="0" cap="none" spc="0" normalizeH="0" baseline="0" noProof="0" dirty="0">
              <a:ln>
                <a:noFill/>
              </a:ln>
              <a:solidFill>
                <a:srgbClr val="C00000"/>
              </a:solidFill>
              <a:effectLst/>
              <a:uLnTx/>
              <a:uFillTx/>
              <a:latin typeface="Open Sans"/>
              <a:ea typeface="+mn-ea"/>
            </a:endParaRPr>
          </a:p>
          <a:p>
            <a:pPr marL="0" marR="0" lvl="0" indent="0" algn="l" defTabSz="685800" rtl="0" eaLnBrk="1" fontAlgn="auto" latinLnBrk="0" hangingPunct="1">
              <a:lnSpc>
                <a:spcPct val="150000"/>
              </a:lnSpc>
              <a:spcBef>
                <a:spcPts val="0"/>
              </a:spcBef>
              <a:spcAft>
                <a:spcPts val="0"/>
              </a:spcAft>
              <a:buClr>
                <a:prstClr val="black"/>
              </a:buClr>
              <a:buSzTx/>
              <a:buFontTx/>
              <a:buNone/>
              <a:tabLst/>
              <a:defRPr/>
            </a:pPr>
            <a:endParaRPr kumimoji="0" lang="en-US" sz="450" b="1" i="0" u="none" strike="noStrike" kern="0" cap="none" spc="0" normalizeH="0" baseline="0" noProof="0" dirty="0">
              <a:ln>
                <a:noFill/>
              </a:ln>
              <a:solidFill>
                <a:prstClr val="black"/>
              </a:solidFill>
              <a:effectLst/>
              <a:uLnTx/>
              <a:uFillTx/>
              <a:latin typeface="Open Sans"/>
              <a:ea typeface="+mn-ea"/>
              <a:cs typeface="+mn-cs"/>
            </a:endParaRPr>
          </a:p>
          <a:p>
            <a:pPr marL="214313" marR="0" lvl="0" indent="-214313" algn="l" defTabSz="685800" rtl="0" eaLnBrk="1" fontAlgn="auto" latinLnBrk="0" hangingPunct="1">
              <a:spcBef>
                <a:spcPts val="0"/>
              </a:spcBef>
              <a:spcAft>
                <a:spcPts val="0"/>
              </a:spcAft>
              <a:buClr>
                <a:prstClr val="black"/>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Open Sans"/>
                <a:ea typeface="+mn-ea"/>
                <a:cs typeface="+mn-cs"/>
              </a:rPr>
              <a:t>Improved Alignment of OA work with Strategy—better</a:t>
            </a:r>
            <a:r>
              <a:rPr kumimoji="0" lang="en-US" sz="1400" b="0" i="0" u="none" strike="noStrike" kern="0" cap="none" spc="0" normalizeH="0" noProof="0" dirty="0">
                <a:ln>
                  <a:noFill/>
                </a:ln>
                <a:solidFill>
                  <a:prstClr val="black"/>
                </a:solidFill>
                <a:effectLst/>
                <a:uLnTx/>
                <a:uFillTx/>
                <a:latin typeface="Open Sans"/>
                <a:ea typeface="+mn-ea"/>
                <a:cs typeface="+mn-cs"/>
              </a:rPr>
              <a:t> portfolios due to</a:t>
            </a:r>
            <a:r>
              <a:rPr lang="en-US" sz="1400" kern="0" dirty="0">
                <a:solidFill>
                  <a:prstClr val="black"/>
                </a:solidFill>
                <a:latin typeface="Open Sans"/>
                <a:ea typeface="+mn-ea"/>
              </a:rPr>
              <a:t> leveraging better OA</a:t>
            </a:r>
            <a:endParaRPr kumimoji="0" lang="en-US" sz="800" b="0" i="0" u="none" strike="noStrike" kern="0" cap="none" spc="0" normalizeH="0" baseline="0" noProof="0" dirty="0">
              <a:ln>
                <a:noFill/>
              </a:ln>
              <a:solidFill>
                <a:prstClr val="black"/>
              </a:solidFill>
              <a:effectLst/>
              <a:uLnTx/>
              <a:uFillTx/>
              <a:latin typeface="Open Sans"/>
              <a:ea typeface="+mn-ea"/>
              <a:cs typeface="+mn-cs"/>
            </a:endParaRPr>
          </a:p>
          <a:p>
            <a:pPr marL="214313" marR="0" lvl="0" indent="-214313" algn="l" defTabSz="685800" rtl="0" eaLnBrk="1" fontAlgn="auto" latinLnBrk="0" hangingPunct="1">
              <a:spcBef>
                <a:spcPts val="0"/>
              </a:spcBef>
              <a:spcAft>
                <a:spcPts val="0"/>
              </a:spcAft>
              <a:buClr>
                <a:prstClr val="black"/>
              </a:buClr>
              <a:buSzTx/>
              <a:buFont typeface="Arial" panose="020B0604020202020204" pitchFamily="34" charset="0"/>
              <a:buChar char="•"/>
              <a:tabLst/>
              <a:defRPr/>
            </a:pPr>
            <a:r>
              <a:rPr lang="en-US" sz="1400" kern="0" dirty="0">
                <a:solidFill>
                  <a:prstClr val="black"/>
                </a:solidFill>
                <a:latin typeface="Open Sans"/>
              </a:rPr>
              <a:t>integrate data creatively, from multiple sources, rapidly using best tools available</a:t>
            </a:r>
            <a:endParaRPr kumimoji="0" lang="en-US" sz="800" b="0" i="0" u="none" strike="noStrike" kern="0" cap="none" spc="0" normalizeH="0" baseline="0" noProof="0" dirty="0">
              <a:ln>
                <a:noFill/>
              </a:ln>
              <a:solidFill>
                <a:prstClr val="black"/>
              </a:solidFill>
              <a:effectLst/>
              <a:uLnTx/>
              <a:uFillTx/>
              <a:latin typeface="Open Sans"/>
              <a:ea typeface="+mn-ea"/>
              <a:cs typeface="+mn-cs"/>
            </a:endParaRPr>
          </a:p>
          <a:p>
            <a:pPr marL="214313" marR="0" lvl="0" indent="-214313" algn="l" defTabSz="685800" rtl="0" eaLnBrk="1" fontAlgn="auto" latinLnBrk="0" hangingPunct="1">
              <a:spcBef>
                <a:spcPts val="0"/>
              </a:spcBef>
              <a:spcAft>
                <a:spcPts val="0"/>
              </a:spcAft>
              <a:buClr>
                <a:prstClr val="black"/>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Open Sans"/>
                <a:ea typeface="+mn-ea"/>
                <a:cs typeface="+mn-cs"/>
              </a:rPr>
              <a:t>Visualizations </a:t>
            </a:r>
            <a:r>
              <a:rPr kumimoji="0" lang="en-US" sz="1400" b="0" i="0" u="sng" strike="noStrike" kern="0" cap="none" spc="0" normalizeH="0" baseline="0" noProof="0" dirty="0">
                <a:ln>
                  <a:noFill/>
                </a:ln>
                <a:solidFill>
                  <a:prstClr val="black"/>
                </a:solidFill>
                <a:effectLst/>
                <a:uLnTx/>
                <a:uFillTx/>
                <a:latin typeface="Open Sans"/>
                <a:ea typeface="+mn-ea"/>
                <a:cs typeface="+mn-cs"/>
              </a:rPr>
              <a:t>mus</a:t>
            </a:r>
            <a:r>
              <a:rPr kumimoji="0" lang="en-US" sz="1400" b="0" i="0" u="none" strike="noStrike" kern="0" cap="none" spc="0" normalizeH="0" baseline="0" noProof="0" dirty="0">
                <a:ln>
                  <a:noFill/>
                </a:ln>
                <a:solidFill>
                  <a:prstClr val="black"/>
                </a:solidFill>
                <a:effectLst/>
                <a:uLnTx/>
                <a:uFillTx/>
                <a:latin typeface="Open Sans"/>
                <a:ea typeface="+mn-ea"/>
                <a:cs typeface="+mn-cs"/>
              </a:rPr>
              <a:t>t minimize the latency to get to the </a:t>
            </a:r>
            <a:r>
              <a:rPr kumimoji="0" lang="en-US" sz="1400" b="1" i="0" u="none" strike="noStrike" kern="0" cap="none" spc="0" normalizeH="0" baseline="0" noProof="0" dirty="0">
                <a:ln>
                  <a:noFill/>
                </a:ln>
                <a:solidFill>
                  <a:prstClr val="black"/>
                </a:solidFill>
                <a:effectLst/>
                <a:uLnTx/>
                <a:uFillTx/>
                <a:latin typeface="Open Sans"/>
                <a:ea typeface="+mn-ea"/>
                <a:cs typeface="+mn-cs"/>
              </a:rPr>
              <a:t>“Ah-Ha” moment and then drive the causal chain</a:t>
            </a:r>
            <a:r>
              <a:rPr kumimoji="0" lang="en-US" sz="1400" b="1" i="0" u="none" strike="noStrike" kern="0" cap="none" spc="0" normalizeH="0" noProof="0" dirty="0">
                <a:ln>
                  <a:noFill/>
                </a:ln>
                <a:solidFill>
                  <a:prstClr val="black"/>
                </a:solidFill>
                <a:effectLst/>
                <a:uLnTx/>
                <a:uFillTx/>
                <a:latin typeface="Open Sans"/>
                <a:ea typeface="+mn-ea"/>
                <a:cs typeface="+mn-cs"/>
              </a:rPr>
              <a:t> to Benefits Realization</a:t>
            </a:r>
            <a:endParaRPr kumimoji="0" lang="en-US" sz="1400" b="1" i="0" u="none" strike="noStrike" kern="0" cap="none" spc="0" normalizeH="0" baseline="0" noProof="0" dirty="0">
              <a:ln>
                <a:noFill/>
              </a:ln>
              <a:solidFill>
                <a:prstClr val="black"/>
              </a:solidFill>
              <a:effectLst/>
              <a:uLnTx/>
              <a:uFillTx/>
              <a:latin typeface="Open Sans"/>
              <a:ea typeface="+mn-ea"/>
              <a:cs typeface="+mn-cs"/>
            </a:endParaRPr>
          </a:p>
        </p:txBody>
      </p:sp>
      <p:grpSp>
        <p:nvGrpSpPr>
          <p:cNvPr id="30" name="Group 29">
            <a:extLst>
              <a:ext uri="{FF2B5EF4-FFF2-40B4-BE49-F238E27FC236}">
                <a16:creationId xmlns:a16="http://schemas.microsoft.com/office/drawing/2014/main" id="{B47C8FCA-9581-44A5-8180-C56A6150303A}"/>
              </a:ext>
            </a:extLst>
          </p:cNvPr>
          <p:cNvGrpSpPr/>
          <p:nvPr/>
        </p:nvGrpSpPr>
        <p:grpSpPr>
          <a:xfrm>
            <a:off x="2688749" y="3910035"/>
            <a:ext cx="660433" cy="95338"/>
            <a:chOff x="4822825" y="4360865"/>
            <a:chExt cx="745331" cy="100162"/>
          </a:xfrm>
        </p:grpSpPr>
        <p:cxnSp>
          <p:nvCxnSpPr>
            <p:cNvPr id="10" name="Straight Arrow Connector 9">
              <a:extLst>
                <a:ext uri="{FF2B5EF4-FFF2-40B4-BE49-F238E27FC236}">
                  <a16:creationId xmlns:a16="http://schemas.microsoft.com/office/drawing/2014/main" id="{1F975C84-AE78-4A8D-A399-7B8C7CD5E811}"/>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2A1C2F6-31E0-4129-A39B-6ECECC50042B}"/>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CC46EBB-4A9E-4837-8519-0B7E6B9EA0A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90FEFAE-156D-4B3D-9BB9-35BB01ACAEF9}"/>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E17D31DB-9B82-499E-BC20-D0F9A2B0C090}"/>
              </a:ext>
            </a:extLst>
          </p:cNvPr>
          <p:cNvGrpSpPr/>
          <p:nvPr/>
        </p:nvGrpSpPr>
        <p:grpSpPr>
          <a:xfrm>
            <a:off x="1676400" y="2785436"/>
            <a:ext cx="660433" cy="95338"/>
            <a:chOff x="4822825" y="4360865"/>
            <a:chExt cx="745331" cy="100162"/>
          </a:xfrm>
        </p:grpSpPr>
        <p:cxnSp>
          <p:nvCxnSpPr>
            <p:cNvPr id="35" name="Straight Arrow Connector 34">
              <a:extLst>
                <a:ext uri="{FF2B5EF4-FFF2-40B4-BE49-F238E27FC236}">
                  <a16:creationId xmlns:a16="http://schemas.microsoft.com/office/drawing/2014/main" id="{2C84C461-8533-4BF7-89D9-6898BC100DA6}"/>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33C6543-59EF-477C-A5AA-89B3A115B060}"/>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CE3D64-31C3-4896-B649-92D26DDA581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8113144-02A4-4914-89D1-1BC1EF75AD02}"/>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B0A4039F-5828-4F1A-B40F-0E7CC707A23B}"/>
              </a:ext>
            </a:extLst>
          </p:cNvPr>
          <p:cNvGrpSpPr/>
          <p:nvPr/>
        </p:nvGrpSpPr>
        <p:grpSpPr>
          <a:xfrm>
            <a:off x="742812" y="3344985"/>
            <a:ext cx="660433" cy="95338"/>
            <a:chOff x="4822825" y="4360865"/>
            <a:chExt cx="745331" cy="100162"/>
          </a:xfrm>
        </p:grpSpPr>
        <p:cxnSp>
          <p:nvCxnSpPr>
            <p:cNvPr id="40" name="Straight Arrow Connector 39">
              <a:extLst>
                <a:ext uri="{FF2B5EF4-FFF2-40B4-BE49-F238E27FC236}">
                  <a16:creationId xmlns:a16="http://schemas.microsoft.com/office/drawing/2014/main" id="{01A41798-C05A-40CF-80FD-6162805EC8CE}"/>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C7903AA-D918-49D9-9FA2-5230604377EF}"/>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278B70A-799F-4456-ACC0-8A2390F820D4}"/>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8C23C8D-D101-4181-BE4C-29C491849824}"/>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30730EE6-E503-4222-ACE4-9357A863B782}"/>
              </a:ext>
            </a:extLst>
          </p:cNvPr>
          <p:cNvGrpSpPr/>
          <p:nvPr/>
        </p:nvGrpSpPr>
        <p:grpSpPr>
          <a:xfrm>
            <a:off x="5817676" y="4117302"/>
            <a:ext cx="558998" cy="75122"/>
            <a:chOff x="4822825" y="4360865"/>
            <a:chExt cx="745331" cy="100162"/>
          </a:xfrm>
        </p:grpSpPr>
        <p:cxnSp>
          <p:nvCxnSpPr>
            <p:cNvPr id="78" name="Straight Arrow Connector 77">
              <a:extLst>
                <a:ext uri="{FF2B5EF4-FFF2-40B4-BE49-F238E27FC236}">
                  <a16:creationId xmlns:a16="http://schemas.microsoft.com/office/drawing/2014/main" id="{DE93D2EF-88EB-4556-A324-2CFA6BAF7357}"/>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8C23647A-E41E-48AC-ADDB-7AE9F77FFB78}"/>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1270BBA-22E7-42F4-9626-A96990634192}"/>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1DFC259-BA17-4559-8FEE-81E94EFAFBB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DB51DBA7-7FBC-4FB7-861D-045EC90773C6}"/>
              </a:ext>
            </a:extLst>
          </p:cNvPr>
          <p:cNvGrpSpPr/>
          <p:nvPr/>
        </p:nvGrpSpPr>
        <p:grpSpPr>
          <a:xfrm>
            <a:off x="7094859" y="3939131"/>
            <a:ext cx="558998" cy="75122"/>
            <a:chOff x="4822825" y="4360865"/>
            <a:chExt cx="745331" cy="100162"/>
          </a:xfrm>
        </p:grpSpPr>
        <p:cxnSp>
          <p:nvCxnSpPr>
            <p:cNvPr id="83" name="Straight Arrow Connector 82">
              <a:extLst>
                <a:ext uri="{FF2B5EF4-FFF2-40B4-BE49-F238E27FC236}">
                  <a16:creationId xmlns:a16="http://schemas.microsoft.com/office/drawing/2014/main" id="{C78C71A9-7555-4ABC-8617-F4FDB4562B48}"/>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2B120F74-BE40-4D82-8F80-B328C4C3C749}"/>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DCB2931-BDF4-4BD8-8E5C-11BE8E70F6DA}"/>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640F46C-B62E-4F77-AB96-6A61CCF2EDF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55F8986D-C88B-4A23-9196-9FFDCA78C125}"/>
              </a:ext>
            </a:extLst>
          </p:cNvPr>
          <p:cNvGrpSpPr/>
          <p:nvPr/>
        </p:nvGrpSpPr>
        <p:grpSpPr>
          <a:xfrm>
            <a:off x="5857399" y="3773753"/>
            <a:ext cx="558998" cy="75122"/>
            <a:chOff x="4822825" y="4360865"/>
            <a:chExt cx="745331" cy="100162"/>
          </a:xfrm>
        </p:grpSpPr>
        <p:cxnSp>
          <p:nvCxnSpPr>
            <p:cNvPr id="88" name="Straight Arrow Connector 87">
              <a:extLst>
                <a:ext uri="{FF2B5EF4-FFF2-40B4-BE49-F238E27FC236}">
                  <a16:creationId xmlns:a16="http://schemas.microsoft.com/office/drawing/2014/main" id="{8E53117B-D7A8-4ED8-B082-16F6D996E583}"/>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6A59F32B-2BA2-488F-AA71-9BE41E2BAF50}"/>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353373B-B0CC-4BC3-A23C-D89FE759FAA0}"/>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19FCAFC-2842-427E-81D0-249E61BCA680}"/>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00959837-2DF4-4D39-8A8B-A1197DC048C2}"/>
              </a:ext>
            </a:extLst>
          </p:cNvPr>
          <p:cNvGrpSpPr/>
          <p:nvPr/>
        </p:nvGrpSpPr>
        <p:grpSpPr>
          <a:xfrm>
            <a:off x="6490102" y="3595658"/>
            <a:ext cx="558998" cy="75122"/>
            <a:chOff x="4822825" y="4360865"/>
            <a:chExt cx="745331" cy="100162"/>
          </a:xfrm>
        </p:grpSpPr>
        <p:cxnSp>
          <p:nvCxnSpPr>
            <p:cNvPr id="93" name="Straight Arrow Connector 92">
              <a:extLst>
                <a:ext uri="{FF2B5EF4-FFF2-40B4-BE49-F238E27FC236}">
                  <a16:creationId xmlns:a16="http://schemas.microsoft.com/office/drawing/2014/main" id="{5898F972-B2A2-42E0-9AF1-4D9760711351}"/>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9BB780AE-C505-4225-8644-16D98C090B57}"/>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36BEF3B-23C6-4517-A260-6D4B3D0D6BA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2FA88176-F8F9-4D18-9C56-EDA47EED61DD}"/>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985049C8-BDEC-4DC1-BA53-C038BBC14D3B}"/>
              </a:ext>
            </a:extLst>
          </p:cNvPr>
          <p:cNvGrpSpPr/>
          <p:nvPr/>
        </p:nvGrpSpPr>
        <p:grpSpPr>
          <a:xfrm>
            <a:off x="7134895" y="3630004"/>
            <a:ext cx="558998" cy="75122"/>
            <a:chOff x="4822825" y="4360865"/>
            <a:chExt cx="745331" cy="100162"/>
          </a:xfrm>
        </p:grpSpPr>
        <p:cxnSp>
          <p:nvCxnSpPr>
            <p:cNvPr id="98" name="Straight Arrow Connector 97">
              <a:extLst>
                <a:ext uri="{FF2B5EF4-FFF2-40B4-BE49-F238E27FC236}">
                  <a16:creationId xmlns:a16="http://schemas.microsoft.com/office/drawing/2014/main" id="{2AC8C612-786A-4AF0-99FE-31CDC68A7214}"/>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6C42E9A-98F1-44D3-8B5A-5702857BB5A3}"/>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6D0C2A0-3E0B-42E0-9E21-60DC3012C16C}"/>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F0B4836-1F23-4198-954E-58E40DB3E565}"/>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44B2712D-FB6D-4F99-8313-1078A2611424}"/>
              </a:ext>
            </a:extLst>
          </p:cNvPr>
          <p:cNvGrpSpPr/>
          <p:nvPr/>
        </p:nvGrpSpPr>
        <p:grpSpPr>
          <a:xfrm>
            <a:off x="6535861" y="3269975"/>
            <a:ext cx="558998" cy="75122"/>
            <a:chOff x="4822825" y="4360865"/>
            <a:chExt cx="745331" cy="100162"/>
          </a:xfrm>
        </p:grpSpPr>
        <p:cxnSp>
          <p:nvCxnSpPr>
            <p:cNvPr id="103" name="Straight Arrow Connector 102">
              <a:extLst>
                <a:ext uri="{FF2B5EF4-FFF2-40B4-BE49-F238E27FC236}">
                  <a16:creationId xmlns:a16="http://schemas.microsoft.com/office/drawing/2014/main" id="{730AF135-5BDD-450D-B17C-766AA60D83BA}"/>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5F09386F-15DC-45C8-ADA9-C9D94762B5D9}"/>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5DD4A25-D288-4A33-B0D8-21454E522977}"/>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7743AF8-D821-4839-B3C6-848AE6F7CF28}"/>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9C4EA2A9-8984-4347-802C-41FD93AE3B28}"/>
              </a:ext>
            </a:extLst>
          </p:cNvPr>
          <p:cNvGrpSpPr/>
          <p:nvPr/>
        </p:nvGrpSpPr>
        <p:grpSpPr>
          <a:xfrm>
            <a:off x="6524315" y="2930603"/>
            <a:ext cx="558998" cy="75122"/>
            <a:chOff x="4822825" y="4360865"/>
            <a:chExt cx="745331" cy="100162"/>
          </a:xfrm>
        </p:grpSpPr>
        <p:cxnSp>
          <p:nvCxnSpPr>
            <p:cNvPr id="108" name="Straight Arrow Connector 107">
              <a:extLst>
                <a:ext uri="{FF2B5EF4-FFF2-40B4-BE49-F238E27FC236}">
                  <a16:creationId xmlns:a16="http://schemas.microsoft.com/office/drawing/2014/main" id="{E1FBD479-BF39-46C5-BC2D-E03A6C273745}"/>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E7BE9F9-D2F3-4734-AE23-D4261BB61256}"/>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8BC02C4-97D5-42C0-B7B2-69DF951DBBB3}"/>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3C8242A-90C6-4DF3-8D1C-A432FB01EE5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5B5EEDAB-57BA-4831-85D0-1C9E316A424D}"/>
              </a:ext>
            </a:extLst>
          </p:cNvPr>
          <p:cNvGrpSpPr/>
          <p:nvPr/>
        </p:nvGrpSpPr>
        <p:grpSpPr>
          <a:xfrm>
            <a:off x="6525187" y="2679838"/>
            <a:ext cx="558998" cy="75122"/>
            <a:chOff x="4822825" y="4360865"/>
            <a:chExt cx="745331" cy="100162"/>
          </a:xfrm>
        </p:grpSpPr>
        <p:cxnSp>
          <p:nvCxnSpPr>
            <p:cNvPr id="113" name="Straight Arrow Connector 112">
              <a:extLst>
                <a:ext uri="{FF2B5EF4-FFF2-40B4-BE49-F238E27FC236}">
                  <a16:creationId xmlns:a16="http://schemas.microsoft.com/office/drawing/2014/main" id="{66BF2C92-3402-401F-B517-21A7504D6FBC}"/>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B622DD68-8D53-4A9C-BFE1-6CC20CE7C6E8}"/>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41249E0-8753-49AC-9AAC-ADC86477A879}"/>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40BED79-3A96-4FCC-923D-D8D03E28A9B8}"/>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pic>
        <p:nvPicPr>
          <p:cNvPr id="1030" name="Picture 6" descr="Harness the Power of Aha! Moments to Help Your Team Learn |">
            <a:extLst>
              <a:ext uri="{FF2B5EF4-FFF2-40B4-BE49-F238E27FC236}">
                <a16:creationId xmlns:a16="http://schemas.microsoft.com/office/drawing/2014/main" id="{A9683ACE-C08E-4FCF-B9FB-5AF3710313D8}"/>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6090827" y="1116623"/>
            <a:ext cx="1376659" cy="1200513"/>
          </a:xfrm>
          <a:prstGeom prst="rect">
            <a:avLst/>
          </a:prstGeom>
          <a:noFill/>
          <a:extLst>
            <a:ext uri="{909E8E84-426E-40DD-AFC4-6F175D3DCCD1}">
              <a14:hiddenFill xmlns:a14="http://schemas.microsoft.com/office/drawing/2010/main">
                <a:solidFill>
                  <a:srgbClr val="FFFFFF"/>
                </a:solidFill>
              </a14:hiddenFill>
            </a:ext>
          </a:extLst>
        </p:spPr>
      </p:pic>
      <p:sp>
        <p:nvSpPr>
          <p:cNvPr id="70" name="Oval 69">
            <a:extLst>
              <a:ext uri="{FF2B5EF4-FFF2-40B4-BE49-F238E27FC236}">
                <a16:creationId xmlns:a16="http://schemas.microsoft.com/office/drawing/2014/main" id="{5DE7379F-A996-40A0-BBBC-7AE829C28700}"/>
              </a:ext>
            </a:extLst>
          </p:cNvPr>
          <p:cNvSpPr/>
          <p:nvPr/>
        </p:nvSpPr>
        <p:spPr>
          <a:xfrm>
            <a:off x="5869233" y="2542329"/>
            <a:ext cx="1742295" cy="967991"/>
          </a:xfrm>
          <a:prstGeom prst="ellipse">
            <a:avLst/>
          </a:prstGeom>
          <a:solidFill>
            <a:srgbClr val="C00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9280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par>
                                <p:cTn id="13" presetID="10" presetClass="entr" presetSubtype="0" fill="hold" nodeType="with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par>
                                <p:cTn id="16" presetID="10" presetClass="entr" presetSubtype="0" fill="hold"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4">
                                            <p:txEl>
                                              <p:pRg st="0" end="0"/>
                                            </p:txEl>
                                          </p:spTgt>
                                        </p:tgtEl>
                                        <p:attrNameLst>
                                          <p:attrName>style.visibility</p:attrName>
                                        </p:attrNameLst>
                                      </p:cBhvr>
                                      <p:to>
                                        <p:strVal val="visible"/>
                                      </p:to>
                                    </p:set>
                                    <p:animEffect transition="in" filter="fade">
                                      <p:cBhvr>
                                        <p:cTn id="28" dur="500"/>
                                        <p:tgtEl>
                                          <p:spTgt spid="24">
                                            <p:txEl>
                                              <p:pRg st="0" end="0"/>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4">
                                            <p:txEl>
                                              <p:pRg st="2" end="2"/>
                                            </p:txEl>
                                          </p:spTgt>
                                        </p:tgtEl>
                                        <p:attrNameLst>
                                          <p:attrName>style.visibility</p:attrName>
                                        </p:attrNameLst>
                                      </p:cBhvr>
                                      <p:to>
                                        <p:strVal val="visible"/>
                                      </p:to>
                                    </p:set>
                                    <p:animEffect transition="in" filter="fade">
                                      <p:cBhvr>
                                        <p:cTn id="33" dur="500"/>
                                        <p:tgtEl>
                                          <p:spTgt spid="24">
                                            <p:txEl>
                                              <p:pRg st="2" end="2"/>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24">
                                            <p:txEl>
                                              <p:pRg st="3" end="3"/>
                                            </p:txEl>
                                          </p:spTgt>
                                        </p:tgtEl>
                                        <p:attrNameLst>
                                          <p:attrName>style.visibility</p:attrName>
                                        </p:attrNameLst>
                                      </p:cBhvr>
                                      <p:to>
                                        <p:strVal val="visible"/>
                                      </p:to>
                                    </p:set>
                                    <p:animEffect transition="in" filter="fade">
                                      <p:cBhvr>
                                        <p:cTn id="38" dur="500"/>
                                        <p:tgtEl>
                                          <p:spTgt spid="24">
                                            <p:txEl>
                                              <p:pRg st="3" end="3"/>
                                            </p:tx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4">
                                            <p:txEl>
                                              <p:pRg st="4" end="4"/>
                                            </p:txEl>
                                          </p:spTgt>
                                        </p:tgtEl>
                                        <p:attrNameLst>
                                          <p:attrName>style.visibility</p:attrName>
                                        </p:attrNameLst>
                                      </p:cBhvr>
                                      <p:to>
                                        <p:strVal val="visible"/>
                                      </p:to>
                                    </p:set>
                                    <p:animEffect transition="in" filter="fade">
                                      <p:cBhvr>
                                        <p:cTn id="43" dur="500"/>
                                        <p:tgtEl>
                                          <p:spTgt spid="24">
                                            <p:txEl>
                                              <p:pRg st="4" end="4"/>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77"/>
                                        </p:tgtEl>
                                        <p:attrNameLst>
                                          <p:attrName>style.visibility</p:attrName>
                                        </p:attrNameLst>
                                      </p:cBhvr>
                                      <p:to>
                                        <p:strVal val="visible"/>
                                      </p:to>
                                    </p:set>
                                    <p:animEffect transition="in" filter="fade">
                                      <p:cBhvr>
                                        <p:cTn id="48" dur="500"/>
                                        <p:tgtEl>
                                          <p:spTgt spid="77"/>
                                        </p:tgtEl>
                                      </p:cBhvr>
                                    </p:animEffect>
                                  </p:childTnLst>
                                </p:cTn>
                              </p:par>
                              <p:par>
                                <p:cTn id="49" presetID="10" presetClass="entr" presetSubtype="0" fill="hold" nodeType="withEffect">
                                  <p:stCondLst>
                                    <p:cond delay="0"/>
                                  </p:stCondLst>
                                  <p:childTnLst>
                                    <p:set>
                                      <p:cBhvr>
                                        <p:cTn id="50" dur="1" fill="hold">
                                          <p:stCondLst>
                                            <p:cond delay="0"/>
                                          </p:stCondLst>
                                        </p:cTn>
                                        <p:tgtEl>
                                          <p:spTgt spid="82"/>
                                        </p:tgtEl>
                                        <p:attrNameLst>
                                          <p:attrName>style.visibility</p:attrName>
                                        </p:attrNameLst>
                                      </p:cBhvr>
                                      <p:to>
                                        <p:strVal val="visible"/>
                                      </p:to>
                                    </p:set>
                                    <p:animEffect transition="in" filter="fade">
                                      <p:cBhvr>
                                        <p:cTn id="51" dur="500"/>
                                        <p:tgtEl>
                                          <p:spTgt spid="82"/>
                                        </p:tgtEl>
                                      </p:cBhvr>
                                    </p:animEffect>
                                  </p:childTnLst>
                                </p:cTn>
                              </p:par>
                              <p:par>
                                <p:cTn id="52" presetID="10" presetClass="entr" presetSubtype="0" fill="hold" nodeType="withEffect">
                                  <p:stCondLst>
                                    <p:cond delay="0"/>
                                  </p:stCondLst>
                                  <p:childTnLst>
                                    <p:set>
                                      <p:cBhvr>
                                        <p:cTn id="53" dur="1" fill="hold">
                                          <p:stCondLst>
                                            <p:cond delay="0"/>
                                          </p:stCondLst>
                                        </p:cTn>
                                        <p:tgtEl>
                                          <p:spTgt spid="87"/>
                                        </p:tgtEl>
                                        <p:attrNameLst>
                                          <p:attrName>style.visibility</p:attrName>
                                        </p:attrNameLst>
                                      </p:cBhvr>
                                      <p:to>
                                        <p:strVal val="visible"/>
                                      </p:to>
                                    </p:set>
                                    <p:animEffect transition="in" filter="fade">
                                      <p:cBhvr>
                                        <p:cTn id="54" dur="500"/>
                                        <p:tgtEl>
                                          <p:spTgt spid="87"/>
                                        </p:tgtEl>
                                      </p:cBhvr>
                                    </p:animEffect>
                                  </p:childTnLst>
                                </p:cTn>
                              </p:par>
                              <p:par>
                                <p:cTn id="55" presetID="10" presetClass="entr" presetSubtype="0" fill="hold" nodeType="withEffect">
                                  <p:stCondLst>
                                    <p:cond delay="0"/>
                                  </p:stCondLst>
                                  <p:childTnLst>
                                    <p:set>
                                      <p:cBhvr>
                                        <p:cTn id="56" dur="1" fill="hold">
                                          <p:stCondLst>
                                            <p:cond delay="0"/>
                                          </p:stCondLst>
                                        </p:cTn>
                                        <p:tgtEl>
                                          <p:spTgt spid="92"/>
                                        </p:tgtEl>
                                        <p:attrNameLst>
                                          <p:attrName>style.visibility</p:attrName>
                                        </p:attrNameLst>
                                      </p:cBhvr>
                                      <p:to>
                                        <p:strVal val="visible"/>
                                      </p:to>
                                    </p:set>
                                    <p:animEffect transition="in" filter="fade">
                                      <p:cBhvr>
                                        <p:cTn id="57" dur="500"/>
                                        <p:tgtEl>
                                          <p:spTgt spid="92"/>
                                        </p:tgtEl>
                                      </p:cBhvr>
                                    </p:animEffect>
                                  </p:childTnLst>
                                </p:cTn>
                              </p:par>
                              <p:par>
                                <p:cTn id="58" presetID="10" presetClass="entr" presetSubtype="0" fill="hold" nodeType="withEffect">
                                  <p:stCondLst>
                                    <p:cond delay="0"/>
                                  </p:stCondLst>
                                  <p:childTnLst>
                                    <p:set>
                                      <p:cBhvr>
                                        <p:cTn id="59" dur="1" fill="hold">
                                          <p:stCondLst>
                                            <p:cond delay="0"/>
                                          </p:stCondLst>
                                        </p:cTn>
                                        <p:tgtEl>
                                          <p:spTgt spid="97"/>
                                        </p:tgtEl>
                                        <p:attrNameLst>
                                          <p:attrName>style.visibility</p:attrName>
                                        </p:attrNameLst>
                                      </p:cBhvr>
                                      <p:to>
                                        <p:strVal val="visible"/>
                                      </p:to>
                                    </p:set>
                                    <p:animEffect transition="in" filter="fade">
                                      <p:cBhvr>
                                        <p:cTn id="60" dur="500"/>
                                        <p:tgtEl>
                                          <p:spTgt spid="97"/>
                                        </p:tgtEl>
                                      </p:cBhvr>
                                    </p:animEffect>
                                  </p:childTnLst>
                                </p:cTn>
                              </p:par>
                              <p:par>
                                <p:cTn id="61" presetID="10" presetClass="entr" presetSubtype="0" fill="hold" nodeType="withEffect">
                                  <p:stCondLst>
                                    <p:cond delay="0"/>
                                  </p:stCondLst>
                                  <p:childTnLst>
                                    <p:set>
                                      <p:cBhvr>
                                        <p:cTn id="62" dur="1" fill="hold">
                                          <p:stCondLst>
                                            <p:cond delay="0"/>
                                          </p:stCondLst>
                                        </p:cTn>
                                        <p:tgtEl>
                                          <p:spTgt spid="102"/>
                                        </p:tgtEl>
                                        <p:attrNameLst>
                                          <p:attrName>style.visibility</p:attrName>
                                        </p:attrNameLst>
                                      </p:cBhvr>
                                      <p:to>
                                        <p:strVal val="visible"/>
                                      </p:to>
                                    </p:set>
                                    <p:animEffect transition="in" filter="fade">
                                      <p:cBhvr>
                                        <p:cTn id="63" dur="500"/>
                                        <p:tgtEl>
                                          <p:spTgt spid="102"/>
                                        </p:tgtEl>
                                      </p:cBhvr>
                                    </p:animEffect>
                                  </p:childTnLst>
                                </p:cTn>
                              </p:par>
                              <p:par>
                                <p:cTn id="64" presetID="10" presetClass="entr" presetSubtype="0" fill="hold" nodeType="withEffect">
                                  <p:stCondLst>
                                    <p:cond delay="0"/>
                                  </p:stCondLst>
                                  <p:childTnLst>
                                    <p:set>
                                      <p:cBhvr>
                                        <p:cTn id="65" dur="1" fill="hold">
                                          <p:stCondLst>
                                            <p:cond delay="0"/>
                                          </p:stCondLst>
                                        </p:cTn>
                                        <p:tgtEl>
                                          <p:spTgt spid="107"/>
                                        </p:tgtEl>
                                        <p:attrNameLst>
                                          <p:attrName>style.visibility</p:attrName>
                                        </p:attrNameLst>
                                      </p:cBhvr>
                                      <p:to>
                                        <p:strVal val="visible"/>
                                      </p:to>
                                    </p:set>
                                    <p:animEffect transition="in" filter="fade">
                                      <p:cBhvr>
                                        <p:cTn id="66" dur="500"/>
                                        <p:tgtEl>
                                          <p:spTgt spid="107"/>
                                        </p:tgtEl>
                                      </p:cBhvr>
                                    </p:animEffect>
                                  </p:childTnLst>
                                </p:cTn>
                              </p:par>
                              <p:par>
                                <p:cTn id="67" presetID="10" presetClass="entr" presetSubtype="0" fill="hold" nodeType="withEffect">
                                  <p:stCondLst>
                                    <p:cond delay="0"/>
                                  </p:stCondLst>
                                  <p:childTnLst>
                                    <p:set>
                                      <p:cBhvr>
                                        <p:cTn id="68" dur="1" fill="hold">
                                          <p:stCondLst>
                                            <p:cond delay="0"/>
                                          </p:stCondLst>
                                        </p:cTn>
                                        <p:tgtEl>
                                          <p:spTgt spid="112"/>
                                        </p:tgtEl>
                                        <p:attrNameLst>
                                          <p:attrName>style.visibility</p:attrName>
                                        </p:attrNameLst>
                                      </p:cBhvr>
                                      <p:to>
                                        <p:strVal val="visible"/>
                                      </p:to>
                                    </p:set>
                                    <p:animEffect transition="in" filter="fade">
                                      <p:cBhvr>
                                        <p:cTn id="69" dur="500"/>
                                        <p:tgtEl>
                                          <p:spTgt spid="112"/>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1030"/>
                                        </p:tgtEl>
                                        <p:attrNameLst>
                                          <p:attrName>style.visibility</p:attrName>
                                        </p:attrNameLst>
                                      </p:cBhvr>
                                      <p:to>
                                        <p:strVal val="visible"/>
                                      </p:to>
                                    </p:set>
                                    <p:animEffect transition="in" filter="fade">
                                      <p:cBhvr>
                                        <p:cTn id="74" dur="50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AD04C-4B7B-4B25-B277-A9A3C13DB393}"/>
              </a:ext>
            </a:extLst>
          </p:cNvPr>
          <p:cNvSpPr>
            <a:spLocks noGrp="1"/>
          </p:cNvSpPr>
          <p:nvPr>
            <p:ph type="title"/>
          </p:nvPr>
        </p:nvSpPr>
        <p:spPr>
          <a:xfrm>
            <a:off x="628650" y="23018"/>
            <a:ext cx="7886700" cy="1325563"/>
          </a:xfrm>
        </p:spPr>
        <p:txBody>
          <a:bodyPr/>
          <a:lstStyle/>
          <a:p>
            <a:r>
              <a:rPr lang="en-US" dirty="0"/>
              <a:t>Operational Analytics—Opportunity Framing</a:t>
            </a:r>
          </a:p>
        </p:txBody>
      </p:sp>
      <p:pic>
        <p:nvPicPr>
          <p:cNvPr id="9" name="Content Placeholder 8" descr="Diagram&#10;&#10;Description automatically generated">
            <a:extLst>
              <a:ext uri="{FF2B5EF4-FFF2-40B4-BE49-F238E27FC236}">
                <a16:creationId xmlns:a16="http://schemas.microsoft.com/office/drawing/2014/main" id="{A36FBAF7-2856-4E8A-B0E6-21935FB26597}"/>
              </a:ext>
            </a:extLst>
          </p:cNvPr>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762000" y="1385825"/>
            <a:ext cx="7296150" cy="1969987"/>
          </a:xfrm>
        </p:spPr>
      </p:pic>
      <p:sp>
        <p:nvSpPr>
          <p:cNvPr id="7" name="Slide Number Placeholder 6">
            <a:extLst>
              <a:ext uri="{FF2B5EF4-FFF2-40B4-BE49-F238E27FC236}">
                <a16:creationId xmlns:a16="http://schemas.microsoft.com/office/drawing/2014/main" id="{8DE86ABC-3FDA-4E29-AE74-843A935ECEDD}"/>
              </a:ext>
            </a:extLst>
          </p:cNvPr>
          <p:cNvSpPr>
            <a:spLocks noGrp="1"/>
          </p:cNvSpPr>
          <p:nvPr>
            <p:ph type="sldNum" sz="quarter" idx="12"/>
          </p:nvPr>
        </p:nvSpPr>
        <p:spPr/>
        <p:txBody>
          <a:bodyPr/>
          <a:lstStyle/>
          <a:p>
            <a:fld id="{B1F560D5-53A7-4969-B8DF-E1F637D39903}" type="slidenum">
              <a:rPr lang="en-CA" smtClean="0"/>
              <a:t>6</a:t>
            </a:fld>
            <a:endParaRPr lang="en-CA"/>
          </a:p>
        </p:txBody>
      </p:sp>
      <p:sp>
        <p:nvSpPr>
          <p:cNvPr id="3" name="Rectangle 2">
            <a:extLst>
              <a:ext uri="{FF2B5EF4-FFF2-40B4-BE49-F238E27FC236}">
                <a16:creationId xmlns:a16="http://schemas.microsoft.com/office/drawing/2014/main" id="{1D009894-6A29-FBD7-CD3E-4B2DD2796C80}"/>
              </a:ext>
            </a:extLst>
          </p:cNvPr>
          <p:cNvSpPr/>
          <p:nvPr/>
        </p:nvSpPr>
        <p:spPr>
          <a:xfrm>
            <a:off x="421256" y="3604826"/>
            <a:ext cx="2532572" cy="29273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t>We should be measuring more…</a:t>
            </a:r>
          </a:p>
          <a:p>
            <a:endParaRPr lang="en-US" dirty="0"/>
          </a:p>
          <a:p>
            <a:r>
              <a:rPr lang="en-US" dirty="0"/>
              <a:t>We’re data rich and information poor</a:t>
            </a:r>
          </a:p>
          <a:p>
            <a:endParaRPr lang="en-US" dirty="0"/>
          </a:p>
          <a:p>
            <a:r>
              <a:rPr lang="en-US" dirty="0"/>
              <a:t>We’re data poor</a:t>
            </a:r>
          </a:p>
          <a:p>
            <a:endParaRPr lang="en-US" dirty="0"/>
          </a:p>
          <a:p>
            <a:r>
              <a:rPr lang="en-US" dirty="0"/>
              <a:t>Measurement matters</a:t>
            </a:r>
          </a:p>
          <a:p>
            <a:endParaRPr lang="en-US" dirty="0"/>
          </a:p>
          <a:p>
            <a:r>
              <a:rPr lang="en-US" dirty="0"/>
              <a:t>Jump on the Analytics bandwagon</a:t>
            </a:r>
          </a:p>
          <a:p>
            <a:endParaRPr lang="en-US" dirty="0"/>
          </a:p>
          <a:p>
            <a:r>
              <a:rPr lang="en-US" dirty="0"/>
              <a:t>Improve Accountability</a:t>
            </a:r>
          </a:p>
          <a:p>
            <a:endParaRPr lang="en-US" dirty="0"/>
          </a:p>
        </p:txBody>
      </p:sp>
      <p:sp>
        <p:nvSpPr>
          <p:cNvPr id="6" name="Rectangle 5">
            <a:extLst>
              <a:ext uri="{FF2B5EF4-FFF2-40B4-BE49-F238E27FC236}">
                <a16:creationId xmlns:a16="http://schemas.microsoft.com/office/drawing/2014/main" id="{85F26717-2DAE-38F0-47C5-BB563A2ACE38}"/>
              </a:ext>
            </a:extLst>
          </p:cNvPr>
          <p:cNvSpPr/>
          <p:nvPr/>
        </p:nvSpPr>
        <p:spPr>
          <a:xfrm>
            <a:off x="3211902" y="3604826"/>
            <a:ext cx="2326257" cy="292304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dirty="0"/>
              <a:t>Measure what matters!!</a:t>
            </a:r>
          </a:p>
          <a:p>
            <a:endParaRPr lang="en-US" dirty="0"/>
          </a:p>
          <a:p>
            <a:r>
              <a:rPr lang="en-US" dirty="0"/>
              <a:t>Balanced Scorecards</a:t>
            </a:r>
          </a:p>
          <a:p>
            <a:endParaRPr lang="en-US" dirty="0"/>
          </a:p>
          <a:p>
            <a:r>
              <a:rPr lang="en-US" dirty="0"/>
              <a:t>KPI’s</a:t>
            </a:r>
          </a:p>
          <a:p>
            <a:endParaRPr lang="en-US" dirty="0"/>
          </a:p>
          <a:p>
            <a:r>
              <a:rPr lang="en-US" dirty="0"/>
              <a:t>Analytics</a:t>
            </a:r>
          </a:p>
          <a:p>
            <a:endParaRPr lang="en-US" dirty="0"/>
          </a:p>
          <a:p>
            <a:r>
              <a:rPr lang="en-US" dirty="0"/>
              <a:t>Big Data</a:t>
            </a:r>
          </a:p>
          <a:p>
            <a:endParaRPr lang="en-US" dirty="0"/>
          </a:p>
          <a:p>
            <a:r>
              <a:rPr lang="en-US" dirty="0"/>
              <a:t>ERP’s</a:t>
            </a:r>
          </a:p>
          <a:p>
            <a:endParaRPr lang="en-US" dirty="0"/>
          </a:p>
          <a:p>
            <a:r>
              <a:rPr lang="en-US" dirty="0"/>
              <a:t>Power BI, Tableau, ChatGPT, AI…….</a:t>
            </a:r>
          </a:p>
        </p:txBody>
      </p:sp>
      <p:sp>
        <p:nvSpPr>
          <p:cNvPr id="8" name="Rectangle 7">
            <a:extLst>
              <a:ext uri="{FF2B5EF4-FFF2-40B4-BE49-F238E27FC236}">
                <a16:creationId xmlns:a16="http://schemas.microsoft.com/office/drawing/2014/main" id="{C6689DEB-6AEA-D1B4-4F86-EF891B555EBB}"/>
              </a:ext>
            </a:extLst>
          </p:cNvPr>
          <p:cNvSpPr/>
          <p:nvPr/>
        </p:nvSpPr>
        <p:spPr>
          <a:xfrm>
            <a:off x="6000750" y="3600513"/>
            <a:ext cx="2057400" cy="292304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t"/>
          <a:lstStyle/>
          <a:p>
            <a:endParaRPr lang="en-US" dirty="0"/>
          </a:p>
          <a:p>
            <a:r>
              <a:rPr lang="en-US" dirty="0"/>
              <a:t>There is a logical strategy path, roadmap, migration plan to follow to build tiered visible measurement systems in our organization.</a:t>
            </a:r>
          </a:p>
          <a:p>
            <a:endParaRPr lang="en-US" dirty="0"/>
          </a:p>
          <a:p>
            <a:r>
              <a:rPr lang="en-US" dirty="0"/>
              <a:t>Learn the strategy path and follow it.  </a:t>
            </a:r>
          </a:p>
          <a:p>
            <a:endParaRPr lang="en-US" dirty="0"/>
          </a:p>
          <a:p>
            <a:r>
              <a:rPr lang="en-US" dirty="0"/>
              <a:t>Good Strategy vs Bad Strategy….</a:t>
            </a:r>
          </a:p>
        </p:txBody>
      </p:sp>
      <p:sp>
        <p:nvSpPr>
          <p:cNvPr id="10" name="TextBox 9">
            <a:extLst>
              <a:ext uri="{FF2B5EF4-FFF2-40B4-BE49-F238E27FC236}">
                <a16:creationId xmlns:a16="http://schemas.microsoft.com/office/drawing/2014/main" id="{0C5C9E40-71DE-F966-AA4D-52F39823F324}"/>
              </a:ext>
            </a:extLst>
          </p:cNvPr>
          <p:cNvSpPr txBox="1"/>
          <p:nvPr/>
        </p:nvSpPr>
        <p:spPr>
          <a:xfrm>
            <a:off x="5867400" y="2648938"/>
            <a:ext cx="2326257" cy="954107"/>
          </a:xfrm>
          <a:prstGeom prst="rect">
            <a:avLst/>
          </a:prstGeom>
          <a:solidFill>
            <a:schemeClr val="bg1"/>
          </a:solidFill>
        </p:spPr>
        <p:txBody>
          <a:bodyPr wrap="square" rtlCol="0">
            <a:spAutoFit/>
          </a:bodyPr>
          <a:lstStyle/>
          <a:p>
            <a:r>
              <a:rPr lang="en-US" sz="1400" b="1" dirty="0">
                <a:latin typeface="Bradley Hand ITC" panose="03070402050302030203" pitchFamily="66" charset="0"/>
              </a:rPr>
              <a:t>Clear, Succinct Problem Statement, Vision, Strategic Pathway, Migration Plan</a:t>
            </a:r>
          </a:p>
        </p:txBody>
      </p:sp>
      <p:sp>
        <p:nvSpPr>
          <p:cNvPr id="11" name="TextBox 10">
            <a:extLst>
              <a:ext uri="{FF2B5EF4-FFF2-40B4-BE49-F238E27FC236}">
                <a16:creationId xmlns:a16="http://schemas.microsoft.com/office/drawing/2014/main" id="{A38028F8-AAE6-9909-6EE6-B2FCA93768F9}"/>
              </a:ext>
            </a:extLst>
          </p:cNvPr>
          <p:cNvSpPr txBox="1"/>
          <p:nvPr/>
        </p:nvSpPr>
        <p:spPr>
          <a:xfrm>
            <a:off x="627571" y="2650719"/>
            <a:ext cx="2326257" cy="954107"/>
          </a:xfrm>
          <a:prstGeom prst="rect">
            <a:avLst/>
          </a:prstGeom>
          <a:solidFill>
            <a:schemeClr val="bg1"/>
          </a:solidFill>
        </p:spPr>
        <p:txBody>
          <a:bodyPr wrap="square" rtlCol="0">
            <a:spAutoFit/>
          </a:bodyPr>
          <a:lstStyle/>
          <a:p>
            <a:r>
              <a:rPr lang="en-US" sz="1400" b="1" dirty="0">
                <a:latin typeface="Bradley Hand ITC" panose="03070402050302030203" pitchFamily="66" charset="0"/>
              </a:rPr>
              <a:t>Vague, poorly formed idea of the problem, no ‘good’ diagnosis, hence no ‘good’ strategy</a:t>
            </a:r>
          </a:p>
        </p:txBody>
      </p:sp>
    </p:spTree>
    <p:extLst>
      <p:ext uri="{BB962C8B-B14F-4D97-AF65-F5344CB8AC3E}">
        <p14:creationId xmlns:p14="http://schemas.microsoft.com/office/powerpoint/2010/main" val="6156625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3015" y="38100"/>
            <a:ext cx="8229600" cy="1143000"/>
          </a:xfrm>
        </p:spPr>
        <p:txBody>
          <a:bodyPr>
            <a:normAutofit/>
          </a:bodyPr>
          <a:lstStyle/>
          <a:p>
            <a:pPr algn="l"/>
            <a:r>
              <a:rPr lang="en-US" sz="3600" dirty="0"/>
              <a:t>Key points--revisited</a:t>
            </a:r>
          </a:p>
        </p:txBody>
      </p:sp>
      <p:sp>
        <p:nvSpPr>
          <p:cNvPr id="3" name="Content Placeholder 2"/>
          <p:cNvSpPr>
            <a:spLocks noGrp="1"/>
          </p:cNvSpPr>
          <p:nvPr>
            <p:ph idx="1"/>
          </p:nvPr>
        </p:nvSpPr>
        <p:spPr>
          <a:xfrm>
            <a:off x="533400" y="1104900"/>
            <a:ext cx="8229600" cy="4991100"/>
          </a:xfrm>
        </p:spPr>
        <p:txBody>
          <a:bodyPr>
            <a:normAutofit fontScale="92500" lnSpcReduction="20000"/>
          </a:bodyPr>
          <a:lstStyle/>
          <a:p>
            <a:pPr marL="457200" indent="-457200">
              <a:spcBef>
                <a:spcPts val="1200"/>
              </a:spcBef>
              <a:buFont typeface="+mj-lt"/>
              <a:buAutoNum type="arabicPeriod"/>
            </a:pPr>
            <a:r>
              <a:rPr lang="en-US" sz="2000" dirty="0"/>
              <a:t>Good analytics come from good context understanding, use case clarity, </a:t>
            </a:r>
            <a:r>
              <a:rPr lang="en-US" sz="2000" i="1" u="sng" dirty="0"/>
              <a:t>good problem/opportunity statements</a:t>
            </a:r>
            <a:r>
              <a:rPr lang="en-US" sz="2000" dirty="0"/>
              <a:t>, clear understanding of DONE </a:t>
            </a:r>
          </a:p>
          <a:p>
            <a:pPr lvl="1">
              <a:spcBef>
                <a:spcPts val="1200"/>
              </a:spcBef>
            </a:pPr>
            <a:r>
              <a:rPr lang="en-US" sz="1800" dirty="0">
                <a:solidFill>
                  <a:srgbClr val="3333FF"/>
                </a:solidFill>
              </a:rPr>
              <a:t>Good problem/opportunity statements have to be have an associated DONE and OKR’s (Objectives and associated Key Results);</a:t>
            </a:r>
          </a:p>
          <a:p>
            <a:pPr marL="857250" lvl="1" indent="-457200">
              <a:spcBef>
                <a:spcPts val="600"/>
              </a:spcBef>
            </a:pPr>
            <a:r>
              <a:rPr lang="en-US" sz="1800" dirty="0">
                <a:solidFill>
                  <a:srgbClr val="3333FF"/>
                </a:solidFill>
              </a:rPr>
              <a:t>Analysts need an all-access pass to data and facts &amp; the wisdom and intentionality to collect it</a:t>
            </a:r>
          </a:p>
          <a:p>
            <a:pPr marL="857250" lvl="1" indent="-457200">
              <a:spcBef>
                <a:spcPts val="600"/>
              </a:spcBef>
            </a:pPr>
            <a:r>
              <a:rPr lang="en-US" sz="1800" dirty="0">
                <a:solidFill>
                  <a:srgbClr val="3333FF"/>
                </a:solidFill>
              </a:rPr>
              <a:t>Simple techniques trump complex techniques</a:t>
            </a:r>
          </a:p>
          <a:p>
            <a:pPr marL="857250" lvl="1" indent="-457200">
              <a:spcBef>
                <a:spcPts val="600"/>
              </a:spcBef>
            </a:pPr>
            <a:r>
              <a:rPr lang="en-US" sz="1800" dirty="0">
                <a:solidFill>
                  <a:srgbClr val="3333FF"/>
                </a:solidFill>
              </a:rPr>
              <a:t>Framing Analytics work in the context of ‘Good Strategy’ is super critical.</a:t>
            </a:r>
          </a:p>
          <a:p>
            <a:pPr marL="0" indent="0">
              <a:spcBef>
                <a:spcPts val="1200"/>
              </a:spcBef>
              <a:buNone/>
            </a:pPr>
            <a:endParaRPr lang="en-US" sz="2000" dirty="0"/>
          </a:p>
          <a:p>
            <a:pPr marL="457200" indent="-457200">
              <a:spcBef>
                <a:spcPts val="1200"/>
              </a:spcBef>
              <a:buFont typeface="+mj-lt"/>
              <a:buAutoNum type="arabicPeriod" startAt="2"/>
            </a:pPr>
            <a:r>
              <a:rPr lang="en-US" sz="2000" dirty="0"/>
              <a:t>Some people have every skill – </a:t>
            </a:r>
            <a:r>
              <a:rPr lang="en-US" sz="2000" i="1" u="sng" dirty="0"/>
              <a:t>business acumen, data management, analytics understanding</a:t>
            </a:r>
            <a:r>
              <a:rPr lang="en-US" sz="2000" dirty="0"/>
              <a:t> – to perform a good Operational Analytics – but it tends to result in a slow ‘craft’ development process for most </a:t>
            </a:r>
          </a:p>
          <a:p>
            <a:pPr lvl="1">
              <a:spcBef>
                <a:spcPts val="1200"/>
              </a:spcBef>
            </a:pPr>
            <a:r>
              <a:rPr lang="en-US" sz="1800" dirty="0">
                <a:solidFill>
                  <a:srgbClr val="3333FF"/>
                </a:solidFill>
              </a:rPr>
              <a:t>Analytics exists on a steep learning curve – what used to take six months now takes two weeks with the right data and analytics</a:t>
            </a:r>
          </a:p>
          <a:p>
            <a:pPr marL="685800" lvl="1">
              <a:spcBef>
                <a:spcPts val="600"/>
              </a:spcBef>
            </a:pPr>
            <a:r>
              <a:rPr lang="en-US" sz="1800" dirty="0">
                <a:solidFill>
                  <a:srgbClr val="3333FF"/>
                </a:solidFill>
              </a:rPr>
              <a:t>There is little time for ‘craft’ in our business – speed wins</a:t>
            </a:r>
          </a:p>
          <a:p>
            <a:pPr marL="685800" lvl="1">
              <a:spcBef>
                <a:spcPts val="600"/>
              </a:spcBef>
            </a:pPr>
            <a:r>
              <a:rPr lang="en-US" sz="1800" dirty="0">
                <a:solidFill>
                  <a:srgbClr val="3333FF"/>
                </a:solidFill>
              </a:rPr>
              <a:t>Operational Analytics, generally speaking, is not being ‘taught’.  A few programs have outstanding curriculum but they are rare, in my view.  They have over complicated analytics.</a:t>
            </a:r>
          </a:p>
        </p:txBody>
      </p:sp>
    </p:spTree>
    <p:extLst>
      <p:ext uri="{BB962C8B-B14F-4D97-AF65-F5344CB8AC3E}">
        <p14:creationId xmlns:p14="http://schemas.microsoft.com/office/powerpoint/2010/main" val="176541218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5826" y="106333"/>
            <a:ext cx="8229600" cy="1143000"/>
          </a:xfrm>
        </p:spPr>
        <p:txBody>
          <a:bodyPr>
            <a:normAutofit/>
          </a:bodyPr>
          <a:lstStyle/>
          <a:p>
            <a:pPr algn="l"/>
            <a:r>
              <a:rPr lang="en-US" sz="3600" dirty="0"/>
              <a:t>Key points--revisited</a:t>
            </a:r>
          </a:p>
        </p:txBody>
      </p:sp>
      <p:sp>
        <p:nvSpPr>
          <p:cNvPr id="3" name="Content Placeholder 2"/>
          <p:cNvSpPr>
            <a:spLocks noGrp="1"/>
          </p:cNvSpPr>
          <p:nvPr>
            <p:ph idx="1"/>
          </p:nvPr>
        </p:nvSpPr>
        <p:spPr>
          <a:xfrm>
            <a:off x="533400" y="1249333"/>
            <a:ext cx="8229600" cy="4648200"/>
          </a:xfrm>
        </p:spPr>
        <p:txBody>
          <a:bodyPr>
            <a:normAutofit fontScale="92500" lnSpcReduction="20000"/>
          </a:bodyPr>
          <a:lstStyle/>
          <a:p>
            <a:pPr marL="457200" indent="-457200">
              <a:spcBef>
                <a:spcPts val="1200"/>
              </a:spcBef>
              <a:buFont typeface="+mj-lt"/>
              <a:buAutoNum type="arabicPeriod" startAt="3"/>
            </a:pPr>
            <a:r>
              <a:rPr lang="en-US" sz="2000" dirty="0"/>
              <a:t>Investment in the data foundation has a positive ROI, as analysts move faster when they trust the data – results in faster results</a:t>
            </a:r>
          </a:p>
          <a:p>
            <a:pPr marL="857250" lvl="1" indent="-457200">
              <a:spcBef>
                <a:spcPts val="600"/>
              </a:spcBef>
            </a:pPr>
            <a:r>
              <a:rPr lang="en-US" sz="1800" dirty="0">
                <a:solidFill>
                  <a:srgbClr val="3333FF"/>
                </a:solidFill>
              </a:rPr>
              <a:t>Rule for Data Management:  storage and speed are generally not issues any more, if it’s there store it, you might need it later (can always aggregate can’t get more granular if it isn’t there)</a:t>
            </a:r>
          </a:p>
          <a:p>
            <a:pPr marL="857250" lvl="1" indent="-457200">
              <a:spcBef>
                <a:spcPts val="600"/>
              </a:spcBef>
            </a:pPr>
            <a:r>
              <a:rPr lang="en-US" sz="1800" dirty="0">
                <a:solidFill>
                  <a:srgbClr val="3333FF"/>
                </a:solidFill>
              </a:rPr>
              <a:t>Second Rule of Business Intelligence/Op Analytics – maintain the illusion of simplicity for your customers, Understand the Use Case and the stakeholders keep it simple for them.  If there aren’t ‘aha’ moments in your work you’ve failed.</a:t>
            </a:r>
          </a:p>
          <a:p>
            <a:pPr marL="457200" indent="-457200">
              <a:spcBef>
                <a:spcPts val="1200"/>
              </a:spcBef>
              <a:buNone/>
            </a:pPr>
            <a:endParaRPr lang="en-US" sz="2000" dirty="0"/>
          </a:p>
          <a:p>
            <a:pPr marL="457200" indent="-457200">
              <a:spcBef>
                <a:spcPts val="1200"/>
              </a:spcBef>
              <a:buFont typeface="+mj-lt"/>
              <a:buAutoNum type="arabicPeriod" startAt="4"/>
            </a:pPr>
            <a:r>
              <a:rPr lang="en-US" sz="2000" dirty="0"/>
              <a:t>Good data visualizations can tell the right story quickly, because people are predisposed to believe what they see in a chart …</a:t>
            </a:r>
          </a:p>
          <a:p>
            <a:pPr marL="857250" lvl="1" indent="-457200">
              <a:spcBef>
                <a:spcPts val="600"/>
              </a:spcBef>
            </a:pPr>
            <a:r>
              <a:rPr lang="en-US" sz="1800" dirty="0">
                <a:solidFill>
                  <a:srgbClr val="3333FF"/>
                </a:solidFill>
              </a:rPr>
              <a:t>Be on guard!  Some folks use </a:t>
            </a:r>
            <a:r>
              <a:rPr lang="en-US" sz="1800" i="1" dirty="0">
                <a:solidFill>
                  <a:srgbClr val="3333FF"/>
                </a:solidFill>
              </a:rPr>
              <a:t>How to Lie with Statistics</a:t>
            </a:r>
            <a:r>
              <a:rPr lang="en-US" sz="1800" dirty="0">
                <a:solidFill>
                  <a:srgbClr val="3333FF"/>
                </a:solidFill>
              </a:rPr>
              <a:t> as a field guide</a:t>
            </a:r>
          </a:p>
          <a:p>
            <a:pPr marL="857250" lvl="1" indent="-457200">
              <a:spcBef>
                <a:spcPts val="600"/>
              </a:spcBef>
            </a:pPr>
            <a:r>
              <a:rPr lang="en-US" sz="1800" dirty="0">
                <a:solidFill>
                  <a:srgbClr val="3333FF"/>
                </a:solidFill>
              </a:rPr>
              <a:t>Kahneman’s (Thinking Fast and Slow) and other research on Decision Making and Action Taking Styles and Methods are invaluable prep for Operational Analytics Specialists.</a:t>
            </a:r>
          </a:p>
          <a:p>
            <a:pPr marL="857250" lvl="1" indent="-457200">
              <a:spcBef>
                <a:spcPts val="600"/>
              </a:spcBef>
            </a:pPr>
            <a:r>
              <a:rPr lang="en-US" sz="1800" dirty="0">
                <a:solidFill>
                  <a:srgbClr val="3333FF"/>
                </a:solidFill>
              </a:rPr>
              <a:t>Apply Pyramid Principle Thinking and Logic, learn to ‘Resonate’/tell powerful stories with your data to provoke improved study-adjust and business value creation.</a:t>
            </a:r>
          </a:p>
        </p:txBody>
      </p:sp>
    </p:spTree>
    <p:extLst>
      <p:ext uri="{BB962C8B-B14F-4D97-AF65-F5344CB8AC3E}">
        <p14:creationId xmlns:p14="http://schemas.microsoft.com/office/powerpoint/2010/main" val="33098337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rmAutofit/>
          </a:bodyPr>
          <a:lstStyle/>
          <a:p>
            <a:pPr algn="l"/>
            <a:r>
              <a:rPr lang="en-US" sz="3600" dirty="0"/>
              <a:t>Key points</a:t>
            </a:r>
          </a:p>
        </p:txBody>
      </p:sp>
      <p:sp>
        <p:nvSpPr>
          <p:cNvPr id="3" name="Content Placeholder 2"/>
          <p:cNvSpPr>
            <a:spLocks noGrp="1"/>
          </p:cNvSpPr>
          <p:nvPr>
            <p:ph idx="1"/>
          </p:nvPr>
        </p:nvSpPr>
        <p:spPr>
          <a:xfrm>
            <a:off x="457200" y="990600"/>
            <a:ext cx="8229600" cy="5486400"/>
          </a:xfrm>
        </p:spPr>
        <p:txBody>
          <a:bodyPr>
            <a:normAutofit fontScale="85000" lnSpcReduction="20000"/>
          </a:bodyPr>
          <a:lstStyle/>
          <a:p>
            <a:pPr marL="457200" indent="-457200">
              <a:spcBef>
                <a:spcPts val="1200"/>
              </a:spcBef>
              <a:buFont typeface="+mj-lt"/>
              <a:buAutoNum type="arabicPeriod" startAt="5"/>
            </a:pPr>
            <a:r>
              <a:rPr lang="en-US" sz="2000" dirty="0"/>
              <a:t>There is </a:t>
            </a:r>
            <a:r>
              <a:rPr lang="en-US" sz="2000" i="1" u="sng" dirty="0"/>
              <a:t>very positive ROI</a:t>
            </a:r>
            <a:r>
              <a:rPr lang="en-US" sz="2000" dirty="0"/>
              <a:t> in getting Operational Analytics well designed and developed– small analytics teams can wield disproportionate influence on the bottom line </a:t>
            </a:r>
          </a:p>
          <a:p>
            <a:pPr marL="857250" lvl="1" indent="-457200">
              <a:spcBef>
                <a:spcPts val="1200"/>
              </a:spcBef>
            </a:pPr>
            <a:r>
              <a:rPr lang="en-US" sz="1800" dirty="0">
                <a:solidFill>
                  <a:srgbClr val="3333FF"/>
                </a:solidFill>
              </a:rPr>
              <a:t>Hire Intentionally and Intelligently– there are few people who have the curiosity, sense of urgency, tolerance of ambiguity, and humility for this role</a:t>
            </a:r>
          </a:p>
          <a:p>
            <a:pPr marL="857250" lvl="1" indent="-457200">
              <a:spcBef>
                <a:spcPts val="600"/>
              </a:spcBef>
            </a:pPr>
            <a:r>
              <a:rPr lang="en-US" sz="1800" dirty="0">
                <a:solidFill>
                  <a:srgbClr val="3333FF"/>
                </a:solidFill>
              </a:rPr>
              <a:t>The catalyst, change agent role is very powerful when powered with great Operational Analytics – get in, learn, analyze, win, get out</a:t>
            </a:r>
          </a:p>
          <a:p>
            <a:pPr marL="857250" lvl="1" indent="-457200">
              <a:spcBef>
                <a:spcPts val="600"/>
              </a:spcBef>
            </a:pPr>
            <a:r>
              <a:rPr lang="en-US" sz="1800" dirty="0">
                <a:solidFill>
                  <a:srgbClr val="3333FF"/>
                </a:solidFill>
              </a:rPr>
              <a:t>Portfolio Management is everything, it’s a very dynamic process.</a:t>
            </a:r>
          </a:p>
          <a:p>
            <a:pPr marL="857250" lvl="1" indent="-457200">
              <a:spcBef>
                <a:spcPts val="600"/>
              </a:spcBef>
            </a:pPr>
            <a:r>
              <a:rPr lang="en-US" sz="1800" dirty="0">
                <a:solidFill>
                  <a:srgbClr val="3333FF"/>
                </a:solidFill>
              </a:rPr>
              <a:t>Understand the causal ‘chains’ and stay focused on ‘drivers’ and critical enablers, focus on the right ‘levers’</a:t>
            </a:r>
          </a:p>
          <a:p>
            <a:pPr marL="400050" lvl="1" indent="0">
              <a:spcBef>
                <a:spcPts val="600"/>
              </a:spcBef>
              <a:buNone/>
            </a:pPr>
            <a:endParaRPr lang="en-US" sz="1800" dirty="0">
              <a:solidFill>
                <a:srgbClr val="3333FF"/>
              </a:solidFill>
            </a:endParaRPr>
          </a:p>
          <a:p>
            <a:pPr marL="457200" indent="-457200">
              <a:spcBef>
                <a:spcPts val="1200"/>
              </a:spcBef>
              <a:buFont typeface="+mj-lt"/>
              <a:buAutoNum type="arabicPeriod" startAt="5"/>
            </a:pPr>
            <a:endParaRPr lang="en-US" sz="2000" dirty="0"/>
          </a:p>
          <a:p>
            <a:pPr marL="457200" indent="-457200">
              <a:spcBef>
                <a:spcPts val="1200"/>
              </a:spcBef>
              <a:buFont typeface="+mj-lt"/>
              <a:buAutoNum type="arabicPeriod" startAt="5"/>
            </a:pPr>
            <a:r>
              <a:rPr lang="en-US" sz="2000" dirty="0"/>
              <a:t>Good Operational Analytics </a:t>
            </a:r>
            <a:r>
              <a:rPr lang="en-US" sz="2000" i="1" u="sng" dirty="0"/>
              <a:t>provokes more timely decisions and actions</a:t>
            </a:r>
            <a:r>
              <a:rPr lang="en-US" sz="2000" dirty="0"/>
              <a:t> – indeed, in most organizational systems, simple and persuasive/influential beats complex/ambiguous every time </a:t>
            </a:r>
          </a:p>
          <a:p>
            <a:pPr marL="857250" lvl="1" indent="-457200">
              <a:spcBef>
                <a:spcPts val="1200"/>
              </a:spcBef>
            </a:pPr>
            <a:r>
              <a:rPr lang="en-US" sz="1800" dirty="0">
                <a:solidFill>
                  <a:srgbClr val="3333FF"/>
                </a:solidFill>
              </a:rPr>
              <a:t>Learn to Tell Stories on individual Slides and ‘Decks’ that Provoke timely improvement and accelerate benefits realization</a:t>
            </a:r>
          </a:p>
          <a:p>
            <a:pPr marL="857250" lvl="1" indent="-457200">
              <a:spcBef>
                <a:spcPts val="600"/>
              </a:spcBef>
            </a:pPr>
            <a:r>
              <a:rPr lang="en-US" sz="1800" dirty="0">
                <a:solidFill>
                  <a:srgbClr val="3333FF"/>
                </a:solidFill>
              </a:rPr>
              <a:t>Be a fast follower with Analytics Technology, people are enamored with shiny objects, keep it simple, more toys and elegance lose, pragmatic Operational Analytics aimed at rapidly improving process performance wins.</a:t>
            </a:r>
          </a:p>
          <a:p>
            <a:pPr marL="857250" lvl="1" indent="-457200">
              <a:spcBef>
                <a:spcPts val="600"/>
              </a:spcBef>
            </a:pPr>
            <a:r>
              <a:rPr lang="en-US" sz="1800" dirty="0">
                <a:solidFill>
                  <a:srgbClr val="3333FF"/>
                </a:solidFill>
              </a:rPr>
              <a:t>Stay focused on developing Process Maturity Levels systematically over time and use data/facts to support progress</a:t>
            </a:r>
          </a:p>
        </p:txBody>
      </p:sp>
    </p:spTree>
    <p:extLst>
      <p:ext uri="{BB962C8B-B14F-4D97-AF65-F5344CB8AC3E}">
        <p14:creationId xmlns:p14="http://schemas.microsoft.com/office/powerpoint/2010/main" val="32542466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23E547B5-89CF-4EC0-96DE-25771AED07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43000" y="857250"/>
            <a:ext cx="6858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800">
              <a:solidFill>
                <a:prstClr val="white"/>
              </a:solidFill>
              <a:latin typeface="Calibri"/>
            </a:endParaRPr>
          </a:p>
        </p:txBody>
      </p:sp>
      <p:sp>
        <p:nvSpPr>
          <p:cNvPr id="16" name="Rectangle 15">
            <a:extLst>
              <a:ext uri="{FF2B5EF4-FFF2-40B4-BE49-F238E27FC236}">
                <a16:creationId xmlns:a16="http://schemas.microsoft.com/office/drawing/2014/main" id="{3F0B8CEB-8279-4E5E-A0CE-1FC9F71736F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26566" y="857251"/>
            <a:ext cx="4174435" cy="5143499"/>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800">
              <a:solidFill>
                <a:prstClr val="white"/>
              </a:solidFill>
              <a:latin typeface="Calibri"/>
            </a:endParaRPr>
          </a:p>
        </p:txBody>
      </p:sp>
      <p:pic>
        <p:nvPicPr>
          <p:cNvPr id="3" name="Picture 2" descr="A green sign with white text&#10;&#10;Description automatically generated with low confidence">
            <a:extLst>
              <a:ext uri="{FF2B5EF4-FFF2-40B4-BE49-F238E27FC236}">
                <a16:creationId xmlns:a16="http://schemas.microsoft.com/office/drawing/2014/main" id="{5171F41F-7711-4E62-A86E-7102317A750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882" r="16320" b="1"/>
          <a:stretch/>
        </p:blipFill>
        <p:spPr>
          <a:xfrm>
            <a:off x="0" y="1"/>
            <a:ext cx="3702180" cy="6629400"/>
          </a:xfrm>
          <a:custGeom>
            <a:avLst/>
            <a:gdLst/>
            <a:ahLst/>
            <a:cxnLst/>
            <a:rect l="l" t="t" r="r" b="b"/>
            <a:pathLst>
              <a:path w="6901731" h="6858000">
                <a:moveTo>
                  <a:pt x="0" y="0"/>
                </a:moveTo>
                <a:lnTo>
                  <a:pt x="6897896" y="5958"/>
                </a:lnTo>
                <a:lnTo>
                  <a:pt x="6866823" y="62592"/>
                </a:lnTo>
                <a:lnTo>
                  <a:pt x="6901731" y="89476"/>
                </a:lnTo>
                <a:lnTo>
                  <a:pt x="6901731" y="103833"/>
                </a:lnTo>
                <a:lnTo>
                  <a:pt x="6900034" y="110092"/>
                </a:lnTo>
                <a:lnTo>
                  <a:pt x="6901731" y="113679"/>
                </a:lnTo>
                <a:lnTo>
                  <a:pt x="6901731" y="405560"/>
                </a:lnTo>
                <a:lnTo>
                  <a:pt x="6900456" y="429509"/>
                </a:lnTo>
                <a:cubicBezTo>
                  <a:pt x="6892773" y="535647"/>
                  <a:pt x="6878314" y="537918"/>
                  <a:pt x="6886342" y="636808"/>
                </a:cubicBezTo>
                <a:cubicBezTo>
                  <a:pt x="6892506" y="756883"/>
                  <a:pt x="6864504" y="771443"/>
                  <a:pt x="6851784" y="839073"/>
                </a:cubicBezTo>
                <a:cubicBezTo>
                  <a:pt x="6838675" y="892655"/>
                  <a:pt x="6864124" y="961738"/>
                  <a:pt x="6845760" y="994930"/>
                </a:cubicBezTo>
                <a:cubicBezTo>
                  <a:pt x="6833572" y="1024166"/>
                  <a:pt x="6859282" y="1058905"/>
                  <a:pt x="6845601" y="1112932"/>
                </a:cubicBezTo>
                <a:cubicBezTo>
                  <a:pt x="6838700" y="1149910"/>
                  <a:pt x="6829138" y="1151035"/>
                  <a:pt x="6820235" y="1187433"/>
                </a:cubicBezTo>
                <a:cubicBezTo>
                  <a:pt x="6815504" y="1196464"/>
                  <a:pt x="6777707" y="1338549"/>
                  <a:pt x="6759643" y="1337010"/>
                </a:cubicBezTo>
                <a:cubicBezTo>
                  <a:pt x="6737660" y="1337296"/>
                  <a:pt x="6760650" y="1396341"/>
                  <a:pt x="6736375" y="1382272"/>
                </a:cubicBezTo>
                <a:cubicBezTo>
                  <a:pt x="6755741" y="1415836"/>
                  <a:pt x="6714675" y="1414567"/>
                  <a:pt x="6701292" y="1432111"/>
                </a:cubicBezTo>
                <a:cubicBezTo>
                  <a:pt x="6721110" y="1460185"/>
                  <a:pt x="6692106" y="1490815"/>
                  <a:pt x="6686578" y="1518624"/>
                </a:cubicBezTo>
                <a:cubicBezTo>
                  <a:pt x="6682512" y="1567002"/>
                  <a:pt x="6679579" y="1571443"/>
                  <a:pt x="6670824" y="1607743"/>
                </a:cubicBezTo>
                <a:cubicBezTo>
                  <a:pt x="6671133" y="1629590"/>
                  <a:pt x="6663161" y="1656870"/>
                  <a:pt x="6664392" y="1696405"/>
                </a:cubicBezTo>
                <a:cubicBezTo>
                  <a:pt x="6655686" y="1770486"/>
                  <a:pt x="6641938" y="1757082"/>
                  <a:pt x="6642880" y="1812372"/>
                </a:cubicBezTo>
                <a:cubicBezTo>
                  <a:pt x="6638579" y="1872475"/>
                  <a:pt x="6619231" y="1825476"/>
                  <a:pt x="6612547" y="1876437"/>
                </a:cubicBezTo>
                <a:cubicBezTo>
                  <a:pt x="6600695" y="1913834"/>
                  <a:pt x="6591061" y="1923231"/>
                  <a:pt x="6571760" y="1953331"/>
                </a:cubicBezTo>
                <a:cubicBezTo>
                  <a:pt x="6561039" y="1989021"/>
                  <a:pt x="6544090" y="2087896"/>
                  <a:pt x="6520213" y="2096455"/>
                </a:cubicBezTo>
                <a:lnTo>
                  <a:pt x="6492461" y="2188148"/>
                </a:lnTo>
                <a:cubicBezTo>
                  <a:pt x="6504372" y="2211333"/>
                  <a:pt x="6489131" y="2253220"/>
                  <a:pt x="6471854" y="2259117"/>
                </a:cubicBezTo>
                <a:cubicBezTo>
                  <a:pt x="6466151" y="2287829"/>
                  <a:pt x="6440452" y="2301346"/>
                  <a:pt x="6439832" y="2328334"/>
                </a:cubicBezTo>
                <a:cubicBezTo>
                  <a:pt x="6431013" y="2351201"/>
                  <a:pt x="6444250" y="2396409"/>
                  <a:pt x="6425162" y="2408211"/>
                </a:cubicBezTo>
                <a:lnTo>
                  <a:pt x="6417221" y="2427382"/>
                </a:lnTo>
                <a:lnTo>
                  <a:pt x="6425030" y="2464387"/>
                </a:lnTo>
                <a:lnTo>
                  <a:pt x="6406293" y="2472223"/>
                </a:lnTo>
                <a:cubicBezTo>
                  <a:pt x="6406862" y="2477277"/>
                  <a:pt x="6406486" y="2491723"/>
                  <a:pt x="6405400" y="2493547"/>
                </a:cubicBezTo>
                <a:lnTo>
                  <a:pt x="6374829" y="2532070"/>
                </a:lnTo>
                <a:cubicBezTo>
                  <a:pt x="6374597" y="2545374"/>
                  <a:pt x="6360976" y="2563797"/>
                  <a:pt x="6350864" y="2577422"/>
                </a:cubicBezTo>
                <a:cubicBezTo>
                  <a:pt x="6327056" y="2632768"/>
                  <a:pt x="6341262" y="2616275"/>
                  <a:pt x="6329174" y="2663854"/>
                </a:cubicBezTo>
                <a:cubicBezTo>
                  <a:pt x="6326303" y="2703642"/>
                  <a:pt x="6332854" y="2709643"/>
                  <a:pt x="6315095" y="2741507"/>
                </a:cubicBezTo>
                <a:cubicBezTo>
                  <a:pt x="6319921" y="2740191"/>
                  <a:pt x="6321925" y="2742004"/>
                  <a:pt x="6322463" y="2745641"/>
                </a:cubicBezTo>
                <a:cubicBezTo>
                  <a:pt x="6322245" y="2747982"/>
                  <a:pt x="6322027" y="2750323"/>
                  <a:pt x="6321808" y="2752663"/>
                </a:cubicBezTo>
                <a:lnTo>
                  <a:pt x="6314569" y="2756718"/>
                </a:lnTo>
                <a:cubicBezTo>
                  <a:pt x="6289324" y="2773686"/>
                  <a:pt x="6317551" y="2780051"/>
                  <a:pt x="6315211" y="2811618"/>
                </a:cubicBezTo>
                <a:cubicBezTo>
                  <a:pt x="6315620" y="2826627"/>
                  <a:pt x="6296047" y="2885298"/>
                  <a:pt x="6302211" y="2882314"/>
                </a:cubicBezTo>
                <a:lnTo>
                  <a:pt x="6286167" y="2949597"/>
                </a:lnTo>
                <a:cubicBezTo>
                  <a:pt x="6286401" y="2994618"/>
                  <a:pt x="6286615" y="2971464"/>
                  <a:pt x="6287037" y="3008578"/>
                </a:cubicBezTo>
                <a:cubicBezTo>
                  <a:pt x="6293795" y="3029535"/>
                  <a:pt x="6274405" y="3114154"/>
                  <a:pt x="6259150" y="3123139"/>
                </a:cubicBezTo>
                <a:cubicBezTo>
                  <a:pt x="6250085" y="3189063"/>
                  <a:pt x="6269067" y="3151280"/>
                  <a:pt x="6272249" y="3227854"/>
                </a:cubicBezTo>
                <a:cubicBezTo>
                  <a:pt x="6278775" y="3295842"/>
                  <a:pt x="6289216" y="3303765"/>
                  <a:pt x="6292288" y="3378383"/>
                </a:cubicBezTo>
                <a:cubicBezTo>
                  <a:pt x="6303894" y="3395995"/>
                  <a:pt x="6287498" y="3432581"/>
                  <a:pt x="6288328" y="3459618"/>
                </a:cubicBezTo>
                <a:cubicBezTo>
                  <a:pt x="6289158" y="3486653"/>
                  <a:pt x="6299937" y="3538735"/>
                  <a:pt x="6297272" y="3540603"/>
                </a:cubicBezTo>
                <a:cubicBezTo>
                  <a:pt x="6296849" y="3577379"/>
                  <a:pt x="6294184" y="3587943"/>
                  <a:pt x="6291001" y="3638374"/>
                </a:cubicBezTo>
                <a:cubicBezTo>
                  <a:pt x="6283026" y="3666794"/>
                  <a:pt x="6265833" y="3731744"/>
                  <a:pt x="6283592" y="3763609"/>
                </a:cubicBezTo>
                <a:cubicBezTo>
                  <a:pt x="6264286" y="3758340"/>
                  <a:pt x="6290177" y="3803150"/>
                  <a:pt x="6274068" y="3814506"/>
                </a:cubicBezTo>
                <a:cubicBezTo>
                  <a:pt x="6260645" y="3821643"/>
                  <a:pt x="6265372" y="3836902"/>
                  <a:pt x="6262850" y="3850454"/>
                </a:cubicBezTo>
                <a:cubicBezTo>
                  <a:pt x="6250418" y="3863479"/>
                  <a:pt x="6250660" y="3955243"/>
                  <a:pt x="6257357" y="3975474"/>
                </a:cubicBezTo>
                <a:cubicBezTo>
                  <a:pt x="6245091" y="4036737"/>
                  <a:pt x="6237535" y="4029237"/>
                  <a:pt x="6257889" y="4073155"/>
                </a:cubicBezTo>
                <a:cubicBezTo>
                  <a:pt x="6259272" y="4085906"/>
                  <a:pt x="6239882" y="4116397"/>
                  <a:pt x="6237441" y="4126638"/>
                </a:cubicBezTo>
                <a:lnTo>
                  <a:pt x="6245587" y="4172738"/>
                </a:lnTo>
                <a:lnTo>
                  <a:pt x="6235772" y="4176721"/>
                </a:lnTo>
                <a:lnTo>
                  <a:pt x="6233287" y="4195136"/>
                </a:lnTo>
                <a:lnTo>
                  <a:pt x="6234619" y="4280850"/>
                </a:lnTo>
                <a:cubicBezTo>
                  <a:pt x="6239453" y="4320763"/>
                  <a:pt x="6223309" y="4337596"/>
                  <a:pt x="6219318" y="4402526"/>
                </a:cubicBezTo>
                <a:cubicBezTo>
                  <a:pt x="6205466" y="4516209"/>
                  <a:pt x="6216183" y="4588729"/>
                  <a:pt x="6216810" y="4651172"/>
                </a:cubicBezTo>
                <a:cubicBezTo>
                  <a:pt x="6217673" y="4756959"/>
                  <a:pt x="6228654" y="4824005"/>
                  <a:pt x="6225945" y="4916779"/>
                </a:cubicBezTo>
                <a:cubicBezTo>
                  <a:pt x="6217032" y="4993010"/>
                  <a:pt x="6264271" y="4984591"/>
                  <a:pt x="6230174" y="5051379"/>
                </a:cubicBezTo>
                <a:cubicBezTo>
                  <a:pt x="6235713" y="5056951"/>
                  <a:pt x="6239420" y="5163714"/>
                  <a:pt x="6242600" y="5170879"/>
                </a:cubicBezTo>
                <a:lnTo>
                  <a:pt x="6235996" y="5216428"/>
                </a:lnTo>
                <a:lnTo>
                  <a:pt x="6214638" y="5285298"/>
                </a:lnTo>
                <a:cubicBezTo>
                  <a:pt x="6211392" y="5297492"/>
                  <a:pt x="6225576" y="5312063"/>
                  <a:pt x="6228432" y="5317696"/>
                </a:cubicBezTo>
                <a:lnTo>
                  <a:pt x="6246496" y="5398787"/>
                </a:lnTo>
                <a:lnTo>
                  <a:pt x="6244793" y="5399530"/>
                </a:lnTo>
                <a:lnTo>
                  <a:pt x="6241695" y="5406948"/>
                </a:lnTo>
                <a:lnTo>
                  <a:pt x="6267461" y="5499413"/>
                </a:lnTo>
                <a:cubicBezTo>
                  <a:pt x="6285387" y="5533848"/>
                  <a:pt x="6284888" y="5550029"/>
                  <a:pt x="6295987" y="5582659"/>
                </a:cubicBezTo>
                <a:cubicBezTo>
                  <a:pt x="6311253" y="5681724"/>
                  <a:pt x="6295439" y="5695558"/>
                  <a:pt x="6364803" y="5784263"/>
                </a:cubicBezTo>
                <a:cubicBezTo>
                  <a:pt x="6379348" y="5818651"/>
                  <a:pt x="6412475" y="5906802"/>
                  <a:pt x="6423050" y="5922637"/>
                </a:cubicBezTo>
                <a:cubicBezTo>
                  <a:pt x="6445210" y="5973612"/>
                  <a:pt x="6468179" y="6023873"/>
                  <a:pt x="6497767" y="6090108"/>
                </a:cubicBezTo>
                <a:cubicBezTo>
                  <a:pt x="6571895" y="6150548"/>
                  <a:pt x="6572491" y="6236583"/>
                  <a:pt x="6606710" y="6281543"/>
                </a:cubicBezTo>
                <a:cubicBezTo>
                  <a:pt x="6633675" y="6335892"/>
                  <a:pt x="6654357" y="6388782"/>
                  <a:pt x="6667540" y="6443715"/>
                </a:cubicBezTo>
                <a:cubicBezTo>
                  <a:pt x="6685192" y="6466826"/>
                  <a:pt x="6650500" y="6508701"/>
                  <a:pt x="6659722" y="6550105"/>
                </a:cubicBezTo>
                <a:cubicBezTo>
                  <a:pt x="6665926" y="6645044"/>
                  <a:pt x="6669126" y="6627536"/>
                  <a:pt x="6671805" y="6687397"/>
                </a:cubicBezTo>
                <a:cubicBezTo>
                  <a:pt x="6682671" y="6733683"/>
                  <a:pt x="6665210" y="6772117"/>
                  <a:pt x="6669658" y="6806602"/>
                </a:cubicBezTo>
                <a:cubicBezTo>
                  <a:pt x="6661174" y="6812658"/>
                  <a:pt x="6667097" y="6831470"/>
                  <a:pt x="6675783" y="6850325"/>
                </a:cubicBezTo>
                <a:lnTo>
                  <a:pt x="6679704" y="6858000"/>
                </a:lnTo>
                <a:lnTo>
                  <a:pt x="4532241" y="6858000"/>
                </a:lnTo>
                <a:lnTo>
                  <a:pt x="1208596" y="6858000"/>
                </a:lnTo>
                <a:lnTo>
                  <a:pt x="0" y="6858000"/>
                </a:lnTo>
                <a:close/>
              </a:path>
            </a:pathLst>
          </a:custGeom>
        </p:spPr>
      </p:pic>
      <p:sp>
        <p:nvSpPr>
          <p:cNvPr id="9" name="object 2">
            <a:extLst>
              <a:ext uri="{FF2B5EF4-FFF2-40B4-BE49-F238E27FC236}">
                <a16:creationId xmlns:a16="http://schemas.microsoft.com/office/drawing/2014/main" id="{5ACBF105-37A5-4EFF-9212-3A4FB813785F}"/>
              </a:ext>
            </a:extLst>
          </p:cNvPr>
          <p:cNvSpPr txBox="1"/>
          <p:nvPr/>
        </p:nvSpPr>
        <p:spPr>
          <a:xfrm>
            <a:off x="3581400" y="0"/>
            <a:ext cx="5562600" cy="6857999"/>
          </a:xfrm>
          <a:prstGeom prst="rect">
            <a:avLst/>
          </a:prstGeom>
          <a:solidFill>
            <a:schemeClr val="bg1">
              <a:lumMod val="95000"/>
            </a:schemeClr>
          </a:solidFill>
        </p:spPr>
        <p:txBody>
          <a:bodyPr vert="horz" lIns="68580" tIns="34290" rIns="68580" bIns="34290" rtlCol="0">
            <a:normAutofit/>
          </a:bodyPr>
          <a:lstStyle/>
          <a:p>
            <a:pPr marR="80486" defTabSz="685800">
              <a:lnSpc>
                <a:spcPct val="90000"/>
              </a:lnSpc>
              <a:spcBef>
                <a:spcPts val="881"/>
              </a:spcBef>
              <a:defRPr/>
            </a:pPr>
            <a:r>
              <a:rPr lang="en-US" sz="4000" b="1" spc="-8" dirty="0">
                <a:solidFill>
                  <a:prstClr val="black"/>
                </a:solidFill>
              </a:rPr>
              <a:t>And, Just Ahead…..</a:t>
            </a:r>
            <a:endParaRPr lang="en-US" b="1" i="1" kern="0" dirty="0">
              <a:solidFill>
                <a:schemeClr val="accent2">
                  <a:lumMod val="75000"/>
                </a:schemeClr>
              </a:solidFill>
              <a:latin typeface="Arial" panose="020B0604020202020204" pitchFamily="34" charset="0"/>
              <a:ea typeface="Times New Roman" panose="02020603050405020304" pitchFamily="18" charset="0"/>
              <a:cs typeface="Times New Roman" panose="02020603050405020304" pitchFamily="18" charset="0"/>
            </a:endParaRPr>
          </a:p>
          <a:p>
            <a:pPr defTabSz="685800">
              <a:lnSpc>
                <a:spcPct val="107000"/>
              </a:lnSpc>
              <a:spcBef>
                <a:spcPts val="900"/>
              </a:spcBef>
              <a:spcAft>
                <a:spcPts val="0"/>
              </a:spcAft>
              <a:defRPr/>
            </a:pPr>
            <a:endParaRPr lang="en-US"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endParaRPr>
          </a:p>
          <a:p>
            <a:pPr defTabSz="685800">
              <a:lnSpc>
                <a:spcPct val="107000"/>
              </a:lnSpc>
              <a:spcBef>
                <a:spcPts val="900"/>
              </a:spcBef>
              <a:spcAft>
                <a:spcPts val="0"/>
              </a:spcAft>
              <a:defRPr/>
            </a:pPr>
            <a:r>
              <a:rPr lang="en-US" sz="2600" b="1" i="1" kern="0" dirty="0">
                <a:solidFill>
                  <a:schemeClr val="accent5">
                    <a:lumMod val="50000"/>
                  </a:schemeClr>
                </a:solidFill>
                <a:latin typeface="Arial" panose="020B0604020202020204" pitchFamily="34" charset="0"/>
                <a:ea typeface="Times New Roman" panose="02020603050405020304" pitchFamily="18" charset="0"/>
                <a:cs typeface="Times New Roman" panose="02020603050405020304" pitchFamily="18" charset="0"/>
              </a:rPr>
              <a:t>June and July Offerings for you..</a:t>
            </a:r>
          </a:p>
          <a:p>
            <a:pPr defTabSz="685800">
              <a:lnSpc>
                <a:spcPct val="107000"/>
              </a:lnSpc>
              <a:spcBef>
                <a:spcPts val="900"/>
              </a:spcBef>
              <a:spcAft>
                <a:spcPts val="0"/>
              </a:spcAft>
              <a:defRPr/>
            </a:pPr>
            <a:r>
              <a:rPr lang="en-US" sz="2400" b="1" i="1" kern="0" dirty="0">
                <a:solidFill>
                  <a:srgbClr val="E47F00"/>
                </a:solidFill>
                <a:latin typeface="Arial" panose="020B0604020202020204" pitchFamily="34" charset="0"/>
                <a:ea typeface="Times New Roman" panose="02020603050405020304" pitchFamily="18" charset="0"/>
                <a:cs typeface="Times New Roman" panose="02020603050405020304" pitchFamily="18" charset="0"/>
              </a:rPr>
              <a:t>An Analytics Mini-Series:</a:t>
            </a:r>
            <a:endPar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endParaRPr>
          </a:p>
          <a:p>
            <a:pPr marL="285750" indent="-285750" defTabSz="685800">
              <a:lnSpc>
                <a:spcPct val="107000"/>
              </a:lnSpc>
              <a:spcBef>
                <a:spcPts val="900"/>
              </a:spcBef>
              <a:buFont typeface="Arial" panose="020B0604020202020204" pitchFamily="34" charset="0"/>
              <a:buChar char="•"/>
              <a:defRPr/>
            </a:pPr>
            <a:r>
              <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rPr>
              <a:t>27 June—Operational Analytics 201</a:t>
            </a:r>
          </a:p>
          <a:p>
            <a:pPr marL="742950" lvl="1" indent="-285750" defTabSz="685800">
              <a:lnSpc>
                <a:spcPct val="107000"/>
              </a:lnSpc>
              <a:spcBef>
                <a:spcPts val="900"/>
              </a:spcBef>
              <a:buFont typeface="Arial" panose="020B0604020202020204" pitchFamily="34" charset="0"/>
              <a:buChar char="•"/>
              <a:defRPr/>
            </a:pPr>
            <a:r>
              <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hlinkClick r:id="rId3"/>
              </a:rPr>
              <a:t>Register for Op Analytics 201 with this link</a:t>
            </a:r>
            <a:endPar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endParaRPr>
          </a:p>
          <a:p>
            <a:pPr marL="285750" indent="-285750" defTabSz="685800">
              <a:lnSpc>
                <a:spcPct val="107000"/>
              </a:lnSpc>
              <a:spcBef>
                <a:spcPts val="900"/>
              </a:spcBef>
              <a:spcAft>
                <a:spcPts val="0"/>
              </a:spcAft>
              <a:buFont typeface="Arial" panose="020B0604020202020204" pitchFamily="34" charset="0"/>
              <a:buChar char="•"/>
              <a:defRPr/>
            </a:pPr>
            <a:r>
              <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rPr>
              <a:t>14 July</a:t>
            </a:r>
            <a:r>
              <a:rPr lang="en-US" sz="1600" b="1" i="1" kern="0" dirty="0">
                <a:solidFill>
                  <a:srgbClr val="538135"/>
                </a:solidFill>
                <a:ea typeface="Times New Roman" panose="02020603050405020304" pitchFamily="18" charset="0"/>
                <a:cs typeface="Times New Roman" panose="02020603050405020304" pitchFamily="18" charset="0"/>
              </a:rPr>
              <a:t>—(401) </a:t>
            </a:r>
            <a:r>
              <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rPr>
              <a:t>Best Practice Case Study—Data and Analytics at University Health Network, Toronto </a:t>
            </a:r>
          </a:p>
          <a:p>
            <a:pPr marL="742950" lvl="1" indent="-285750" defTabSz="685800">
              <a:lnSpc>
                <a:spcPct val="107000"/>
              </a:lnSpc>
              <a:spcBef>
                <a:spcPts val="900"/>
              </a:spcBef>
              <a:spcAft>
                <a:spcPts val="0"/>
              </a:spcAft>
              <a:buFont typeface="Arial" panose="020B0604020202020204" pitchFamily="34" charset="0"/>
              <a:buChar char="•"/>
              <a:defRPr/>
            </a:pPr>
            <a:r>
              <a:rPr lang="en-US" sz="1600" b="1" i="1" kern="0" dirty="0">
                <a:solidFill>
                  <a:srgbClr val="538135"/>
                </a:solidFill>
                <a:ea typeface="Times New Roman" panose="02020603050405020304" pitchFamily="18" charset="0"/>
                <a:cs typeface="Times New Roman" panose="02020603050405020304" pitchFamily="18" charset="0"/>
                <a:hlinkClick r:id="rId4"/>
              </a:rPr>
              <a:t>(OA 401) </a:t>
            </a:r>
            <a:r>
              <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hlinkClick r:id="rId4"/>
              </a:rPr>
              <a:t>Register for Best Practices in Analytics UHN Toronto</a:t>
            </a:r>
            <a:endPar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endParaRPr>
          </a:p>
          <a:p>
            <a:pPr marL="285750" indent="-285750" defTabSz="685800">
              <a:lnSpc>
                <a:spcPct val="107000"/>
              </a:lnSpc>
              <a:spcBef>
                <a:spcPts val="900"/>
              </a:spcBef>
              <a:spcAft>
                <a:spcPts val="0"/>
              </a:spcAft>
              <a:buFont typeface="Arial" panose="020B0604020202020204" pitchFamily="34" charset="0"/>
              <a:buChar char="•"/>
              <a:defRPr/>
            </a:pPr>
            <a:r>
              <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rPr>
              <a:t>18 July—Operational Analytics 301</a:t>
            </a:r>
          </a:p>
          <a:p>
            <a:pPr marL="742950" lvl="1" indent="-285750" defTabSz="685800">
              <a:lnSpc>
                <a:spcPct val="107000"/>
              </a:lnSpc>
              <a:spcBef>
                <a:spcPts val="900"/>
              </a:spcBef>
              <a:spcAft>
                <a:spcPts val="0"/>
              </a:spcAft>
              <a:buFont typeface="Arial" panose="020B0604020202020204" pitchFamily="34" charset="0"/>
              <a:buChar char="•"/>
              <a:defRPr/>
            </a:pPr>
            <a:r>
              <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hlinkClick r:id="rId5"/>
              </a:rPr>
              <a:t>Register for Operational Analytics 301 </a:t>
            </a:r>
            <a:endPar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endParaRPr>
          </a:p>
          <a:p>
            <a:pPr lvl="1" defTabSz="685800">
              <a:lnSpc>
                <a:spcPct val="107000"/>
              </a:lnSpc>
              <a:spcBef>
                <a:spcPts val="900"/>
              </a:spcBef>
              <a:spcAft>
                <a:spcPts val="0"/>
              </a:spcAft>
              <a:defRPr/>
            </a:pPr>
            <a:endPar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endParaRPr>
          </a:p>
          <a:p>
            <a:pPr algn="ctr" defTabSz="685800">
              <a:lnSpc>
                <a:spcPct val="107000"/>
              </a:lnSpc>
              <a:spcBef>
                <a:spcPts val="900"/>
              </a:spcBef>
              <a:spcAft>
                <a:spcPts val="0"/>
              </a:spcAft>
              <a:defRPr/>
            </a:pPr>
            <a:r>
              <a:rPr lang="en-US" sz="2000" b="1" i="1" kern="0" dirty="0" err="1">
                <a:solidFill>
                  <a:srgbClr val="E47F00"/>
                </a:solidFill>
                <a:latin typeface="Arial" panose="020B0604020202020204" pitchFamily="34" charset="0"/>
                <a:ea typeface="Times New Roman" panose="02020603050405020304" pitchFamily="18" charset="0"/>
                <a:cs typeface="Times New Roman" panose="02020603050405020304" pitchFamily="18" charset="0"/>
              </a:rPr>
              <a:t>Capstoned</a:t>
            </a:r>
            <a:r>
              <a:rPr lang="en-US" sz="2000" b="1" i="1" kern="0" dirty="0">
                <a:solidFill>
                  <a:srgbClr val="E47F00"/>
                </a:solidFill>
                <a:latin typeface="Arial" panose="020B0604020202020204" pitchFamily="34" charset="0"/>
                <a:ea typeface="Times New Roman" panose="02020603050405020304" pitchFamily="18" charset="0"/>
                <a:cs typeface="Times New Roman" panose="02020603050405020304" pitchFamily="18" charset="0"/>
              </a:rPr>
              <a:t> by a Feature Article in the ISE Magazine in August.</a:t>
            </a:r>
          </a:p>
          <a:p>
            <a:pPr defTabSz="685800">
              <a:lnSpc>
                <a:spcPct val="107000"/>
              </a:lnSpc>
              <a:spcBef>
                <a:spcPts val="900"/>
              </a:spcBef>
              <a:spcAft>
                <a:spcPts val="0"/>
              </a:spcAft>
              <a:defRPr/>
            </a:pPr>
            <a:endParaRPr lang="en-US"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836744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C5E07-DB5B-55F2-6F01-6B61AC3D8F04}"/>
              </a:ext>
            </a:extLst>
          </p:cNvPr>
          <p:cNvSpPr>
            <a:spLocks noGrp="1"/>
          </p:cNvSpPr>
          <p:nvPr>
            <p:ph type="title"/>
          </p:nvPr>
        </p:nvSpPr>
        <p:spPr>
          <a:xfrm>
            <a:off x="304800" y="76200"/>
            <a:ext cx="6477000" cy="685800"/>
          </a:xfrm>
        </p:spPr>
        <p:txBody>
          <a:bodyPr/>
          <a:lstStyle/>
          <a:p>
            <a:r>
              <a:rPr lang="en-US" dirty="0"/>
              <a:t>OA 201 is up next…27 June</a:t>
            </a:r>
          </a:p>
        </p:txBody>
      </p:sp>
      <p:sp>
        <p:nvSpPr>
          <p:cNvPr id="3" name="Content Placeholder 2">
            <a:extLst>
              <a:ext uri="{FF2B5EF4-FFF2-40B4-BE49-F238E27FC236}">
                <a16:creationId xmlns:a16="http://schemas.microsoft.com/office/drawing/2014/main" id="{D52268DB-61E4-27E1-5D29-0E7DE9B5711D}"/>
              </a:ext>
            </a:extLst>
          </p:cNvPr>
          <p:cNvSpPr>
            <a:spLocks noGrp="1"/>
          </p:cNvSpPr>
          <p:nvPr>
            <p:ph idx="1"/>
          </p:nvPr>
        </p:nvSpPr>
        <p:spPr>
          <a:xfrm>
            <a:off x="304800" y="990600"/>
            <a:ext cx="8534400" cy="5181600"/>
          </a:xfrm>
        </p:spPr>
        <p:txBody>
          <a:bodyPr/>
          <a:lstStyle/>
          <a:p>
            <a:pPr marL="0" indent="0">
              <a:buNone/>
            </a:pPr>
            <a:r>
              <a:rPr lang="en-US" b="1" dirty="0"/>
              <a:t>OA 101:  DEFINE--Foundations for Building Performance Measurement, Evaluation, Improvement Systems  </a:t>
            </a:r>
          </a:p>
          <a:p>
            <a:pPr lvl="1"/>
            <a:endParaRPr lang="en-US" b="1" dirty="0"/>
          </a:p>
          <a:p>
            <a:pPr lvl="1"/>
            <a:r>
              <a:rPr lang="en-US" dirty="0"/>
              <a:t>Systems Thinking and Process Breakdown Structure</a:t>
            </a:r>
          </a:p>
          <a:p>
            <a:pPr lvl="1"/>
            <a:r>
              <a:rPr lang="en-US" dirty="0"/>
              <a:t>The ‘Management Systems Model’ (Management Systems Engineering)</a:t>
            </a:r>
          </a:p>
          <a:p>
            <a:pPr lvl="1"/>
            <a:endParaRPr lang="en-US" dirty="0"/>
          </a:p>
          <a:p>
            <a:pPr marL="0" indent="0">
              <a:buNone/>
            </a:pPr>
            <a:r>
              <a:rPr lang="en-US" b="1" dirty="0"/>
              <a:t>OA 201:  CONCEPT DESIGN--</a:t>
            </a:r>
          </a:p>
          <a:p>
            <a:pPr lvl="2"/>
            <a:endParaRPr lang="en-US" dirty="0"/>
          </a:p>
          <a:p>
            <a:pPr lvl="1"/>
            <a:r>
              <a:rPr lang="en-US" dirty="0"/>
              <a:t>The ‘Operational Analytics’ ‘Triangle’ Model</a:t>
            </a:r>
          </a:p>
          <a:p>
            <a:pPr lvl="1"/>
            <a:r>
              <a:rPr lang="en-US" dirty="0"/>
              <a:t>The ‘Questions’, where do we start with Op Analytics Development Projects? </a:t>
            </a:r>
          </a:p>
          <a:p>
            <a:pPr lvl="2"/>
            <a:r>
              <a:rPr lang="en-US" dirty="0"/>
              <a:t>Picking the right improvement projects, Portfolio Management, Using Op Analytics as a tool for picking the right improvement projects (how Op Analytics helps with P and S)</a:t>
            </a:r>
          </a:p>
          <a:p>
            <a:pPr lvl="2"/>
            <a:r>
              <a:rPr lang="en-US" dirty="0"/>
              <a:t>Seeing, understanding Op Analytics as an integral component of the PDSA, System and Process Improvement Methodology and work</a:t>
            </a:r>
          </a:p>
          <a:p>
            <a:pPr lvl="1"/>
            <a:r>
              <a:rPr lang="en-US" dirty="0"/>
              <a:t>The Data Design, Development, Management Role </a:t>
            </a:r>
          </a:p>
          <a:p>
            <a:pPr lvl="2"/>
            <a:r>
              <a:rPr lang="en-US" dirty="0"/>
              <a:t>Concepts to help with data modeling, data ‘base’ development</a:t>
            </a:r>
          </a:p>
          <a:p>
            <a:pPr lvl="2"/>
            <a:r>
              <a:rPr lang="en-US" dirty="0"/>
              <a:t>Creating the foundation upon which Analytics Tools sit and can be fully utilized</a:t>
            </a:r>
          </a:p>
          <a:p>
            <a:pPr lvl="1"/>
            <a:r>
              <a:rPr lang="en-US" dirty="0"/>
              <a:t>The Data to Information to Insights Role</a:t>
            </a:r>
          </a:p>
          <a:p>
            <a:pPr marL="858837" lvl="2" indent="0">
              <a:buNone/>
            </a:pPr>
            <a:endParaRPr lang="en-US" dirty="0"/>
          </a:p>
          <a:p>
            <a:endParaRPr lang="en-US" b="1" dirty="0"/>
          </a:p>
          <a:p>
            <a:pPr marL="0" indent="0">
              <a:buNone/>
            </a:pPr>
            <a:endParaRPr lang="en-US" b="1" dirty="0"/>
          </a:p>
          <a:p>
            <a:endParaRPr lang="en-US" b="1" dirty="0"/>
          </a:p>
        </p:txBody>
      </p:sp>
    </p:spTree>
    <p:extLst>
      <p:ext uri="{BB962C8B-B14F-4D97-AF65-F5344CB8AC3E}">
        <p14:creationId xmlns:p14="http://schemas.microsoft.com/office/powerpoint/2010/main" val="19828068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ED403-D791-78B6-17FA-9A3150B2A848}"/>
              </a:ext>
            </a:extLst>
          </p:cNvPr>
          <p:cNvSpPr>
            <a:spLocks noGrp="1"/>
          </p:cNvSpPr>
          <p:nvPr>
            <p:ph type="title"/>
          </p:nvPr>
        </p:nvSpPr>
        <p:spPr>
          <a:xfrm>
            <a:off x="152400" y="76200"/>
            <a:ext cx="6477000" cy="685800"/>
          </a:xfrm>
        </p:spPr>
        <p:txBody>
          <a:bodyPr/>
          <a:lstStyle/>
          <a:p>
            <a:r>
              <a:rPr lang="en-US" dirty="0"/>
              <a:t>Certificates and Certifications</a:t>
            </a:r>
          </a:p>
        </p:txBody>
      </p:sp>
      <p:sp>
        <p:nvSpPr>
          <p:cNvPr id="3" name="Content Placeholder 2">
            <a:extLst>
              <a:ext uri="{FF2B5EF4-FFF2-40B4-BE49-F238E27FC236}">
                <a16:creationId xmlns:a16="http://schemas.microsoft.com/office/drawing/2014/main" id="{D857E3BC-9AFD-ED4A-C330-5782068A843B}"/>
              </a:ext>
            </a:extLst>
          </p:cNvPr>
          <p:cNvSpPr>
            <a:spLocks noGrp="1"/>
          </p:cNvSpPr>
          <p:nvPr>
            <p:ph idx="1"/>
          </p:nvPr>
        </p:nvSpPr>
        <p:spPr/>
        <p:txBody>
          <a:bodyPr/>
          <a:lstStyle/>
          <a:p>
            <a:r>
              <a:rPr lang="en-US" dirty="0"/>
              <a:t>Stick with the Series and earn an OA Certificate with CEU’s from IISE.</a:t>
            </a:r>
          </a:p>
          <a:p>
            <a:endParaRPr lang="en-US" dirty="0"/>
          </a:p>
          <a:p>
            <a:r>
              <a:rPr lang="en-US" dirty="0"/>
              <a:t>Consider IISE’s Operational Analytics Certification.</a:t>
            </a:r>
          </a:p>
          <a:p>
            <a:endParaRPr lang="en-US" dirty="0"/>
          </a:p>
          <a:p>
            <a:pPr lvl="1"/>
            <a:r>
              <a:rPr lang="en-US" dirty="0"/>
              <a:t>An on-demand course that takes this Series a level deeper, works on skill development.</a:t>
            </a:r>
          </a:p>
          <a:p>
            <a:pPr lvl="1"/>
            <a:r>
              <a:rPr lang="en-US" dirty="0"/>
              <a:t>Essentially a 4 </a:t>
            </a:r>
            <a:r>
              <a:rPr lang="en-US" dirty="0" err="1"/>
              <a:t>ch</a:t>
            </a:r>
            <a:r>
              <a:rPr lang="en-US" dirty="0"/>
              <a:t> level, Semester Course in OA.</a:t>
            </a:r>
          </a:p>
          <a:p>
            <a:pPr lvl="1"/>
            <a:r>
              <a:rPr lang="en-US" dirty="0"/>
              <a:t>Tailoring and coaching encouraged and provided.</a:t>
            </a:r>
          </a:p>
          <a:p>
            <a:pPr lvl="1"/>
            <a:endParaRPr lang="en-US" dirty="0"/>
          </a:p>
          <a:p>
            <a:pPr lvl="1"/>
            <a:endParaRPr lang="en-US" dirty="0"/>
          </a:p>
          <a:p>
            <a:pPr lvl="1"/>
            <a:r>
              <a:rPr lang="en-US" dirty="0"/>
              <a:t>For more on this, please contact James Swisher </a:t>
            </a:r>
            <a:r>
              <a:rPr lang="en-US" dirty="0">
                <a:hlinkClick r:id="rId2"/>
              </a:rPr>
              <a:t>jswisher@iise.org</a:t>
            </a:r>
            <a:r>
              <a:rPr lang="en-US" dirty="0"/>
              <a:t> </a:t>
            </a:r>
          </a:p>
          <a:p>
            <a:endParaRPr lang="en-US" dirty="0"/>
          </a:p>
          <a:p>
            <a:pPr lvl="1"/>
            <a:endParaRPr lang="en-US" dirty="0"/>
          </a:p>
        </p:txBody>
      </p:sp>
    </p:spTree>
    <p:extLst>
      <p:ext uri="{BB962C8B-B14F-4D97-AF65-F5344CB8AC3E}">
        <p14:creationId xmlns:p14="http://schemas.microsoft.com/office/powerpoint/2010/main" val="13690806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sz="2400" dirty="0"/>
              <a:t>Context – reading list provided from Intel Global SCM Analytics team member (Moneyball is a great movie if you haven’t seen)</a:t>
            </a:r>
          </a:p>
        </p:txBody>
      </p:sp>
      <p:sp>
        <p:nvSpPr>
          <p:cNvPr id="6" name="Content Placeholder 5"/>
          <p:cNvSpPr>
            <a:spLocks noGrp="1"/>
          </p:cNvSpPr>
          <p:nvPr>
            <p:ph sz="half" idx="2"/>
          </p:nvPr>
        </p:nvSpPr>
        <p:spPr>
          <a:xfrm>
            <a:off x="4495800" y="1600200"/>
            <a:ext cx="4343400" cy="4038600"/>
          </a:xfrm>
          <a:ln>
            <a:solidFill>
              <a:schemeClr val="bg1">
                <a:lumMod val="95000"/>
              </a:schemeClr>
            </a:solidFill>
          </a:ln>
        </p:spPr>
        <p:txBody>
          <a:bodyPr>
            <a:normAutofit/>
          </a:bodyPr>
          <a:lstStyle/>
          <a:p>
            <a:endParaRPr lang="en-US" sz="2400" dirty="0"/>
          </a:p>
          <a:p>
            <a:r>
              <a:rPr lang="en-US" sz="2400" dirty="0"/>
              <a:t>Journey from craft to volume </a:t>
            </a:r>
          </a:p>
          <a:p>
            <a:endParaRPr lang="en-US" sz="2400" dirty="0"/>
          </a:p>
          <a:p>
            <a:r>
              <a:rPr lang="en-US" sz="2400" dirty="0"/>
              <a:t>Profit from fixing inefficiencies</a:t>
            </a:r>
          </a:p>
          <a:p>
            <a:endParaRPr lang="en-US" sz="2400" dirty="0"/>
          </a:p>
          <a:p>
            <a:r>
              <a:rPr lang="en-US" sz="2400" dirty="0"/>
              <a:t>Understand why things fail</a:t>
            </a:r>
          </a:p>
          <a:p>
            <a:endParaRPr lang="en-US" sz="2400" dirty="0"/>
          </a:p>
          <a:p>
            <a:r>
              <a:rPr lang="en-US" sz="2400" dirty="0"/>
              <a:t>Recognize human biases</a:t>
            </a:r>
          </a:p>
        </p:txBody>
      </p:sp>
      <p:sp>
        <p:nvSpPr>
          <p:cNvPr id="1026" name="AutoShape 2" descr="data:image/jpeg;base64,/9j/4AAQSkZJRgABAQAAAQABAAD/2wCEAAkGBwgHBgkIBwgKCgkLDRYPDQwMDRsUFRAWIB0iIiAdHx8kKDQsJCYxJx8fLT0tMTU3Ojo6Iys/RD84QzQ5OjcBCgoKDQwNGg8PGjclHyU3Nzc3Nzc3Nzc3Nzc3Nzc3Nzc3Nzc3Nzc3Nzc3Nzc3Nzc3Nzc3Nzc3Nzc3Nzc3Nzc3N//AABEIAKAAoAMBIgACEQEDEQH/xAAbAAACAwEBAQAAAAAAAAAAAAAABAIDBQYBB//EAEoQAAIBAwMBBAUIBgcFCQEAAAECAwAEEQUSITETIkFRBmFxcrEUFTIzNIGRoUJWYoKU0RYjUlWSweElNnTi8CZFRlNjssLx8hf/xAAaAQEAAwEBAQAAAAAAAAAAAAAAAQIDBAYF/8QAKxEAAgECBAUCBwEAAAAAAAAAAAECAxESITFRBBNBkaEUUgUyM2Fx0fAj/9oADAMBAAIRAxEAPwD7jRRRQBRRRQBRXmaCcDNAe0VmHVG7OKUwBYpfoEvyRxgnjjrXsGqLNeRwLGwEsQkQngkZPP5D8aA0TRkVmW2rxzNErQyIznHUHbknGf8ACazl1OSe3ske7EXayuk8qlcrgnA56Zx19VZzmo6lowctDpM15kVzEd7LJOsVzfyRWoMoS5Uhe12kAZbGOBnp1xmqYdQvJLiIXM0q2xWNpZFGCOXwT5BsLn/Ws/UR2NORLc67IorjdebUvn6OOxuJ0JniZVBOz6qXun9klVz7RSFrcXMklpdtHdTSvcSR/I5Vk3RAzN3wRxwCM7uMAc+faqV1e5xOuk2rH0DNR3r/AGh+NfPLCC+7FIntNT+cAlp8nmKSBVwih9zHu44bIPJz501pWnzPaTrJaSxzreo5zYsjFVuN2d5+n3fwFHTt1CrN9DvK9qK9KlWRuFFFFAFFFFAB6Unqd9DptlJd3JYRRDLFRkj7qcrn/Tr/AHV1Dj9AfEVEnZZGlKCnUjF6Nin9P9A/86fj/wBBq9/p5oRRnElztUgMfk7YGenwNfN40h7ExWZDHGZrtxtCAg5UAj2+3HFe7oRb52FLFCdgJw1w48/V7Oma5edM9A/hXDdLnbN6W6FvZo7hUBO7HzcT6/Op2Gv6dd3ccFhcAzOcqE03BHXnOeOp59dfPls7q91JbaC22zynKxDgKDzn1DHNfQ9K0lfRyxBt4TdXD5M0g69Oi+qkHObz0MuM4PheHglFtyeiy/RriG5DApdhSM4K2qePXxqo2NwQ227ADfSxax8+3mqLq5kZ42+R3WGBJEbsCMEjnHHr/wDqvO0DL3ba7LdqI9pmbgkA56+z861dKD1v3Pj/AOi0t4GGsrzaE+dJgo6DsEwPzqD2N8wOdXuenhEo/wDlUI7owSNts7x25Tl2YcZ6Z+78ate/njaTdYSMA5VShzuA8T5f6VXkUv5ssnV6W7IqOl3vjrV9+H/PUG0e6YYbWb4+3/8AdW/Ok2xWOn3Gcd4Y6cH1er86ctp2nj3mGSPkjDY8Kj01J/zJdStHP9GUdCmPXVrv/D/zVja5a3Wl3MMMd9NOZV3KFJDDy4yf+hXSa+066TM1qXEwaMrs5P01pf0W06d7uW/1S2mNy30JJCuAPUOoNcXEUIuapU0098zejWlGDqzaa2yOk09Zo7KBLlt0yoA5z1OOaaqIFSr6sVZWPnt3dwoooqSAooooArn/AE6/3Vv89Ng6e8K6CsD06H/ZXUM/2B8RVZ/KzbhvrQ/KPlwEDRpI0DCyRyqoD35m69RgnkDp0q+1S4mvURLbtNRfCwQFO7AvBDH8vzrNsYry9u7e3tBI84OIwP0Oc59Qr6hoOiRaRCSW7W8l5lnbqx8vZXHSjjPTfEK8eGWbvJ9CGh6ImjWkjLia9lBaaUj6bdceoZq5tQvQjEaXISuMjfjdz4ceVTgudQLgTWSgE5LLJwBn44qUM9924Sa0QrvH9YGA7ufLPXFdiSSsjzk5SnJynZthNdXabSti78kEA88YwfzP4VFr28KSFNPbKpkAyDvHyHHqP4ivBc6lshb5EuSP6wdp0Pn7KDdajk404dDx2g/68fyoVw/Zdzw6heDuvpkhbbk7XGCfLpVou7pnXNiy5Tdkv0OTwcDyAP31A3WobT/s/pnAMoAP31FrvUWVXisBnLh0diDx0xnqD50Jw/Zdw+W33ZRt82OHzh1DDjp/rQl9eyK+7TnRhnBZs5qbXF+GlxaKwUjYA473n/lXi3V+SAdPA56iQdOf8qEWWy7jNrNJMhaWAwnOApbJPrrXgA7KM/sisuCR5IFeSPs3IOV8q1YPqo/dHwqxjLUsooooQFFFFAFFFFAFYvpfbS3no9eW9uu6WQKqjOOdwrape++zn3l+Io1fItCThJSXQ4nSoLX0ZU2/yG9ubpgDLcQ25ZWz+iD5DyrQ/pFH/dmq4/4U/wA6f1S6axsJ7tYWmEEbSNGpAJABPHr9VKy65bJ6OnXEEkkHyftkRR3m4+j7c8eQqqjZWRvOvGpLFUV3+SoekMf92ap/Cn+dWW2tpczpELDUY9xxvktyAPac8U5Y3XyuwivWXso5YxKAWzhSMjJ9hqrStVttS0xdQiJjhy+/teCm0kHPl0qbS3KOdO2UfJDWZ5LWGGVJzGHuYYiDjGGkUHr6iaSuL64gN8i3IcQTQJ2hZAVDbM8Y9ZpqDU57zTfnGxsGlhdN8KyP2ckq+YUjjPgDjrzivRqpbWINOFs2Z4DcLJuAAQFQcjrnLDj86sYhpl2093cRSTqwSaVEUOpyA2BwOeB41K/1ZbKcQtZXsx2ht8EG5efXXg1I/PbaX8mIdYBOZd427CSBxjOcg1Xp+svfHUgloYzp85gkDSjvOFVztIHTaw5OKh36FoOKeauQPpFGf+7NVx/wp/nR/SKP+7NV/hT/ADq3Q9ai1zTjdWkbrMh2S20vdeJ/7LdccYPkQQaqudeNuultJYv/ALSnWCICQd1mUsN3qwp6Z8Ki0tzXHS9vknb64k8yRDT9Rj3nG6S2IVfac8V08H1Ufuj4VjW80skk0c0BiKBWUhwwcHPj6sdK2YPqY/dHwojObi/lViyiiipKBRRRQBRRRQBS9/8AZz7y/EUxS9/9n/eX4igMLXJ4oLMLNu/rJolGxSxx2i5PHgBnNYVlbPYnVtPmjYabbGS5tpOSHEyk7APHDGTj1rius3AE98D78UBwDkOPxoTZnKaPcK3oj6PaYxkinmtLe3mDRHMIWMbwwI4J2lefFhVE1k7XXpHoC3DEapD28MxQhEmdSjpkDA+irY9Z867LeP7Y/GgOOgcfcakWZk6dq0CaTC16klrcRQqstq6HtFYDkBR9L1Yzms+V1u/TGwkkSeMHTZFbBddjsyEIWXHOM8Z8K3G1BEaUNFOOyTew2jgd7B6/sn8qlHfxSStEpfIgWYk9Apzj4GhBiQdnF6bzbTNsOnLHvkLsu8SMSu455xg4zSuiTrHH6WSMHQS38kkO5GHaKYY1BXjkFgRxXQpqkUkFtLEszJdbRGduMkqWwQehG05HgeKdVi6q3eGRnngigOYvtPmQW3pBoC7r6O3RLi36C8iUfQPk452k+PHjSeslZbX0QBjnXF9DNIFRt0Sdk4yxX6PJAz667PnNAz66E2Zm6ZNbiW4trVppVVjK8jhiAW6Dc30jwemcCujg+pj90fCs5snJrRg+pj90fCoILKKKKAKKKKAKKKKAKXv/ALP+8vxFMUvffUfvr/7hQHO6po+k3MjXeoRqGwAztKyDA488UkmiejUgkMfYsI8byLo9zPTPPFDMbn07+T3XeittOFxao3QyNIVdvaAEA8txrWvoYezuZdids9syM3iygE8+eM/n66jDE1VeqlZSZmf0f9H+yMvZx9kDjf8AKTtz7c4q+w0HR0ljurOFWZGyjrMzDP44NYVk11//ACy3X5PEY/mJOTKenYjnG2ttZmg9HdPhgDma4hihiWLarHKAsRkgZChj933UwrYOvVas5Mckt4ZRc3Ju2WK4hEZYMu1V57wOPWeuaoGm2rqZ0uiImhjifZ2ex0QknPGOckH1ZpT0Ob5Pa3ekOjI2mXBiSNsZWFu/EOCRwrBev6NZVmZPRW3ttRjVn0O7RXvYxz8jkYAmZf2CfpDwPPnVjI6G3sbUoGhvCYYbprkBGjKITuyvA4XvH8etVXVlpOrXYdroyTFQoWG6IyB5AGsu7aOaX0etCymwvL+6Z1XGyYqZGQHzGeceOK2NUvbe3vLBLiymklefbaPGEx2m1sjJYEd3d1wKhq5aE5Qd4ih0XQgWBvGBXqDfMCPb3qG0LRF27rmRdw3Lm+YZHmO9zSsHyiL0h9KmsbaKWTFvt3HGT2A8Mc1fq0MEev8AowkUaBI5LhFAH0QIxwPZUYY7GvqKvuGrPQtMSRLi1klkaNuCLpnGfXziuqg+qj90fCuL1ki09K9Be0G2e8kmhuVXjtIljLbmHjtbbg+uu0g+pj90fCpsloZTnKbvJllFFFCoUUUUAUUUUAUvf/Z/3l+Ipil777P+8vxFAZN3Y2928UkyntYWLRSoxVkJ64I8D5dDVLaVbvI8srXEkskJgZzO4OwnJAAIC5wOVAPFV39hqFxcGS21iS2jwAIlhRgMeOTS/wA1at+sNx/DR1W72NlTg1nNeRpdFsE0caQkcosRH2IjE8mezxjbu3ZxjjrUoNJtIHtGj+UA2qGOENdSkKpwOQWIPQdc0n806v8ArDcfw0dHzTq/6w3H8NHTE9ieVD3ryWXFjpVvqUl9NJLFd3EaxO4uJRuXcdq4DYHLHHtq6zk022sPk8E2baILERI7ybQwAAJbJ5BHHr9dSnsLmWwt4Xue1limilaZ1279jhug8TjFQuNNllN4VdB20sUiDLcBNmQR69n51cxepXFYaRNpq6RHEj2kBxHECwMZVs908EFSeCDkUydMt3ubeedp55LZy8BllJEZIIyAMAnBPLZPPWi2s5oZJm3qe1klfgk43HI4PGRSPzTq4/8AEU/t+TR/yqG7F4QjLWVhqPRbKK8u7yMXK3F3t7Zlu5Rv2jA43YHHHGKg2g6cXs5OzuN1kD8nIupRtLDvE97vE+JOTVHzTq/6w3H8NHR806v+sU/8NHVcT2L8qHvXk0INPtYLmS6jjY3DLsMsjs7beu0FiSBnnA4rcg+pj90fCuXg0zUo50km12aaNTlozAgDjyyK6iD6mP3R8KlMznFReTuWUUUVJQKKKKAKKKKAKXv/ALOfeX4imKXv/s595fiKAS8aT1mxOpaZcWiXE1tJJGwjnhkZHjfHDAgjoaco69PCpBwU19KNP0nVDPJEWDaZf25uJNkUxOztMZ6q4PJ8GrU1qX5m07UdUtjPKNJsmSNZbmRhLLjcWcE97A28nPLNWgfRuxefVnk3MmpriSP9FCVCsw9bbV5/ZFN2umQR6Oum3ObqMxdlM0v0ps/SLY8TyaAoj0ZBp3ZSXM73pTm+3nte0x1B8s/o/RxxjFc2+qS39h6JajcyXEb3N20V0ttJIqyhYpf0VPILIGHFdKunXiWAsE1IiAJ2YmMOZwuMfSztzjx2/dnmqbnQQzaQtjcJa2+lSdpDD2G/cdjJydw4wx+/xoCr0aMt7Z39w9xJNpt1OZLDdKxkSLaM5JO4d8MQDyPHHQT9By8noppssssss00IeSSaVnZjkjqxJq6x0d9OuL9tPu0jt7uQzG3kg3rFIR3iuHGATzjzJqrTtEurDSrTTItTU29vtG5bbEjqGzgnfgZ6cDoaAV9HrZLi812Oae8ZYb8xxD5ZL3F7NDhe9xyTTfo3ezzyapY3UjTSaddmATN9KRSiuu7H6QDYPnjPjUtP0q6sZb6SPUIWa9n7d82h7jYA7v8AWeS+Oac0vTYdMt2hgLuzu0ksspy8rk8sx/LgAAACgHD0NaMH1Mfuj4VnHpWjB9TH7o+FQCyiiigCiiigCiiigCl7/wCzn3l+Ipil7/7OfeX4igEqWu5WjeFYzlixLIvJKgHw9uKZoPn5eOKFouzM3ttQAQGMl1kYSYHBU/RIPqyP8JqMUt+YcyM4fs05eIY3be9kAefl+FRjvrj5KjhVkkaFW4XAV+pX8AePD76ujupZJsKAbd3G1wudg2gkN+fPqIqpvnsiXaXbTwHDIhRTICoPOeRkDr+HnVZ+cBfNGHZoCTh9qYHj5Z8x9y+ZqmPULprYuzIJOwRguz9Irk8e2m7mdw8BilTs5GYElc8AMc/iBUlc10RRJLqPZIYlbtBGpcMg+mGBKjjoRkZ8OOamJ7zAJiY7ZyXBTrHnAAwOcZz+7U2uZReyR5VIAcGQrnb3c/mT+WPGq47q5YxF1AVygfC8wnx3DwBHQ+HShK00IvNfi2gIWRrjjto9g29Gzg488Y58uetaMLh1/TyMA71wemf86zLPUJ2gtZLnaA8YM2FxsOMnjy6+scZrW8aIpUyQHoa0YPqY/dHwrOPQ1owfUx+6PhUmRZRRRQBRRRQBRRRQBS9/9nPvL8RTFL3/ANnPvL8RQCVeOwRGZugGTXtFSDPTWIJE3RiQkjjOME5HHX9oV4+osuxgqNmBJdoJySxxgflWjgeQo8PZUWZpijsIfOLtvEUW9kkHdDcuhGdy+vrx44qs6lLtDDsm3bMHB53bvM+rx86dmMwYdjHEw8d7kY/I1DN3x/V249W9v5e2osyccdigXYjtbuSPsQ0e5wFON3dBJP41BNUkdHbYg7MA4Ocv3iu0eR49fUe2noe2LHtliVcDGxicnx8BVtLMjHHYzJNSkCKRGjb1Z9uclACAQcnk8k446HrWkrBlDD9IA/dXtFSRJp6AehrRg+pj90fCs49DWjB9TH7o+FChZRRRQBRRRQH/2Q=="/>
          <p:cNvSpPr>
            <a:spLocks noChangeAspect="1" noChangeArrowheads="1"/>
          </p:cNvSpPr>
          <p:nvPr/>
        </p:nvSpPr>
        <p:spPr bwMode="auto">
          <a:xfrm>
            <a:off x="63500" y="-731838"/>
            <a:ext cx="1524000" cy="15240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7" name="Picture 3"/>
          <p:cNvPicPr>
            <a:picLocks noChangeAspect="1" noChangeArrowheads="1"/>
          </p:cNvPicPr>
          <p:nvPr/>
        </p:nvPicPr>
        <p:blipFill>
          <a:blip r:embed="rId2" cstate="print"/>
          <a:srcRect/>
          <a:stretch>
            <a:fillRect/>
          </a:stretch>
        </p:blipFill>
        <p:spPr bwMode="auto">
          <a:xfrm>
            <a:off x="2438400" y="1447800"/>
            <a:ext cx="1615440" cy="2438400"/>
          </a:xfrm>
          <a:prstGeom prst="rect">
            <a:avLst/>
          </a:prstGeom>
          <a:noFill/>
          <a:ln w="9525">
            <a:noFill/>
            <a:miter lim="800000"/>
            <a:headEnd/>
            <a:tailEnd/>
          </a:ln>
        </p:spPr>
      </p:pic>
      <p:pic>
        <p:nvPicPr>
          <p:cNvPr id="1028" name="Picture 4"/>
          <p:cNvPicPr>
            <a:picLocks noChangeAspect="1" noChangeArrowheads="1"/>
          </p:cNvPicPr>
          <p:nvPr/>
        </p:nvPicPr>
        <p:blipFill>
          <a:blip r:embed="rId3" cstate="print"/>
          <a:srcRect/>
          <a:stretch>
            <a:fillRect/>
          </a:stretch>
        </p:blipFill>
        <p:spPr bwMode="auto">
          <a:xfrm>
            <a:off x="732183" y="1447800"/>
            <a:ext cx="1590260" cy="2438400"/>
          </a:xfrm>
          <a:prstGeom prst="rect">
            <a:avLst/>
          </a:prstGeom>
          <a:noFill/>
          <a:ln w="9525">
            <a:noFill/>
            <a:miter lim="800000"/>
            <a:headEnd/>
            <a:tailEnd/>
          </a:ln>
        </p:spPr>
      </p:pic>
      <p:pic>
        <p:nvPicPr>
          <p:cNvPr id="106502" name="Picture 6"/>
          <p:cNvPicPr>
            <a:picLocks noChangeAspect="1" noChangeArrowheads="1"/>
          </p:cNvPicPr>
          <p:nvPr/>
        </p:nvPicPr>
        <p:blipFill>
          <a:blip r:embed="rId4" cstate="print"/>
          <a:srcRect/>
          <a:stretch>
            <a:fillRect/>
          </a:stretch>
        </p:blipFill>
        <p:spPr bwMode="auto">
          <a:xfrm>
            <a:off x="735874" y="4051663"/>
            <a:ext cx="1600200" cy="2362200"/>
          </a:xfrm>
          <a:prstGeom prst="rect">
            <a:avLst/>
          </a:prstGeom>
          <a:noFill/>
          <a:ln w="9525">
            <a:noFill/>
            <a:miter lim="800000"/>
            <a:headEnd/>
            <a:tailEnd/>
          </a:ln>
        </p:spPr>
      </p:pic>
      <p:pic>
        <p:nvPicPr>
          <p:cNvPr id="106503" name="Picture 7"/>
          <p:cNvPicPr>
            <a:picLocks noChangeAspect="1" noChangeArrowheads="1"/>
          </p:cNvPicPr>
          <p:nvPr/>
        </p:nvPicPr>
        <p:blipFill>
          <a:blip r:embed="rId5" cstate="print"/>
          <a:srcRect/>
          <a:stretch>
            <a:fillRect/>
          </a:stretch>
        </p:blipFill>
        <p:spPr bwMode="auto">
          <a:xfrm>
            <a:off x="2438400" y="4038599"/>
            <a:ext cx="1600200" cy="2367379"/>
          </a:xfrm>
          <a:prstGeom prst="rect">
            <a:avLst/>
          </a:prstGeom>
          <a:noFill/>
          <a:ln w="9525">
            <a:noFill/>
            <a:miter lim="800000"/>
            <a:headEnd/>
            <a:tailEnd/>
          </a:ln>
        </p:spPr>
      </p:pic>
      <p:sp>
        <p:nvSpPr>
          <p:cNvPr id="3" name="Footer Placeholder 2"/>
          <p:cNvSpPr>
            <a:spLocks noGrp="1"/>
          </p:cNvSpPr>
          <p:nvPr>
            <p:ph type="ftr" sz="quarter" idx="11"/>
          </p:nvPr>
        </p:nvSpPr>
        <p:spPr>
          <a:xfrm>
            <a:off x="4724400" y="6324600"/>
            <a:ext cx="2895600" cy="365125"/>
          </a:xfrm>
        </p:spPr>
        <p:txBody>
          <a:bodyPr/>
          <a:lstStyle/>
          <a:p>
            <a:r>
              <a:rPr lang="en-US" dirty="0"/>
              <a:t>S. Cunningham;  Intel Corporation; 2013</a:t>
            </a:r>
          </a:p>
        </p:txBody>
      </p:sp>
    </p:spTree>
    <p:extLst>
      <p:ext uri="{BB962C8B-B14F-4D97-AF65-F5344CB8AC3E}">
        <p14:creationId xmlns:p14="http://schemas.microsoft.com/office/powerpoint/2010/main" val="994929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Title 1">
            <a:extLst>
              <a:ext uri="{FF2B5EF4-FFF2-40B4-BE49-F238E27FC236}">
                <a16:creationId xmlns:a16="http://schemas.microsoft.com/office/drawing/2014/main" id="{60C8078B-F5C0-45B0-85F1-ACB18330920A}"/>
              </a:ext>
            </a:extLst>
          </p:cNvPr>
          <p:cNvSpPr>
            <a:spLocks noGrp="1"/>
          </p:cNvSpPr>
          <p:nvPr>
            <p:ph type="title"/>
          </p:nvPr>
        </p:nvSpPr>
        <p:spPr>
          <a:xfrm>
            <a:off x="533400" y="280500"/>
            <a:ext cx="7886700" cy="837232"/>
          </a:xfrm>
          <a:solidFill>
            <a:srgbClr val="CC3300"/>
          </a:solidFill>
        </p:spPr>
        <p:txBody>
          <a:bodyPr/>
          <a:lstStyle/>
          <a:p>
            <a:pPr algn="ctr"/>
            <a:r>
              <a:rPr lang="en-US" altLang="en-US" sz="2400" dirty="0">
                <a:solidFill>
                  <a:schemeClr val="bg1"/>
                </a:solidFill>
              </a:rPr>
              <a:t>Illustrative Contextual Fundamental Guiding Principles for Analysts—For Further Study</a:t>
            </a:r>
          </a:p>
        </p:txBody>
      </p:sp>
      <p:pic>
        <p:nvPicPr>
          <p:cNvPr id="4" name="Picture 3" descr="Map&#10;&#10;Description automatically generated">
            <a:extLst>
              <a:ext uri="{FF2B5EF4-FFF2-40B4-BE49-F238E27FC236}">
                <a16:creationId xmlns:a16="http://schemas.microsoft.com/office/drawing/2014/main" id="{F7468D7E-658B-445C-8A64-F80C656E47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519" y="1447801"/>
            <a:ext cx="1222882" cy="1222882"/>
          </a:xfrm>
          <a:prstGeom prst="rect">
            <a:avLst/>
          </a:prstGeom>
        </p:spPr>
      </p:pic>
      <p:pic>
        <p:nvPicPr>
          <p:cNvPr id="7" name="Picture 6" descr="A close - up of a white sign&#10;&#10;Description automatically generated with low confidence">
            <a:extLst>
              <a:ext uri="{FF2B5EF4-FFF2-40B4-BE49-F238E27FC236}">
                <a16:creationId xmlns:a16="http://schemas.microsoft.com/office/drawing/2014/main" id="{4B02485E-8732-460C-923D-5F6B364FEC5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2838" y="2244810"/>
            <a:ext cx="715852" cy="1091097"/>
          </a:xfrm>
          <a:prstGeom prst="rect">
            <a:avLst/>
          </a:prstGeom>
        </p:spPr>
      </p:pic>
      <p:pic>
        <p:nvPicPr>
          <p:cNvPr id="9" name="Picture 8" descr="A picture containing logo&#10;&#10;Description automatically generated">
            <a:extLst>
              <a:ext uri="{FF2B5EF4-FFF2-40B4-BE49-F238E27FC236}">
                <a16:creationId xmlns:a16="http://schemas.microsoft.com/office/drawing/2014/main" id="{50B41243-4AF9-4EFC-A6AB-6DF56A0B7F9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06862" y="1447800"/>
            <a:ext cx="1535766" cy="2340805"/>
          </a:xfrm>
          <a:prstGeom prst="rect">
            <a:avLst/>
          </a:prstGeom>
        </p:spPr>
      </p:pic>
      <p:pic>
        <p:nvPicPr>
          <p:cNvPr id="11" name="Picture 10" descr="A picture containing text, businesscard, screenshot&#10;&#10;Description automatically generated">
            <a:extLst>
              <a:ext uri="{FF2B5EF4-FFF2-40B4-BE49-F238E27FC236}">
                <a16:creationId xmlns:a16="http://schemas.microsoft.com/office/drawing/2014/main" id="{5C4D9095-A319-4A05-BCB9-4E1E0BDB56E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58000" y="1419045"/>
            <a:ext cx="1743075" cy="2628900"/>
          </a:xfrm>
          <a:prstGeom prst="rect">
            <a:avLst/>
          </a:prstGeom>
        </p:spPr>
      </p:pic>
      <p:pic>
        <p:nvPicPr>
          <p:cNvPr id="6" name="Picture 5" descr="Text&#10;&#10;Description automatically generated with medium confidence">
            <a:extLst>
              <a:ext uri="{FF2B5EF4-FFF2-40B4-BE49-F238E27FC236}">
                <a16:creationId xmlns:a16="http://schemas.microsoft.com/office/drawing/2014/main" id="{AF56A864-CA34-4288-9B20-98CD699AB66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6099" y="3480168"/>
            <a:ext cx="1753344" cy="2340805"/>
          </a:xfrm>
          <a:prstGeom prst="rect">
            <a:avLst/>
          </a:prstGeom>
        </p:spPr>
      </p:pic>
      <p:pic>
        <p:nvPicPr>
          <p:cNvPr id="16" name="Picture 15" descr="A picture containing text, sign, tableware, dishware&#10;&#10;Description automatically generated">
            <a:extLst>
              <a:ext uri="{FF2B5EF4-FFF2-40B4-BE49-F238E27FC236}">
                <a16:creationId xmlns:a16="http://schemas.microsoft.com/office/drawing/2014/main" id="{DBAC255D-CF1C-48DE-8B99-349BA4DB9C5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38800" y="4650571"/>
            <a:ext cx="2505573" cy="912029"/>
          </a:xfrm>
          <a:prstGeom prst="rect">
            <a:avLst/>
          </a:prstGeom>
        </p:spPr>
      </p:pic>
      <p:sp>
        <p:nvSpPr>
          <p:cNvPr id="14" name="Rectangle: Rounded Corners 13">
            <a:extLst>
              <a:ext uri="{FF2B5EF4-FFF2-40B4-BE49-F238E27FC236}">
                <a16:creationId xmlns:a16="http://schemas.microsoft.com/office/drawing/2014/main" id="{CB9B4450-B938-40FA-96F2-E1AB0E48DD60}"/>
              </a:ext>
            </a:extLst>
          </p:cNvPr>
          <p:cNvSpPr/>
          <p:nvPr/>
        </p:nvSpPr>
        <p:spPr>
          <a:xfrm>
            <a:off x="5638799" y="5734786"/>
            <a:ext cx="2505573" cy="725303"/>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perational Analytics Certificate &amp; Certification Program</a:t>
            </a:r>
          </a:p>
        </p:txBody>
      </p:sp>
      <p:pic>
        <p:nvPicPr>
          <p:cNvPr id="3" name="Picture 2" descr="A book cover with black and white text&#10;&#10;Description automatically generated with low confidence">
            <a:extLst>
              <a:ext uri="{FF2B5EF4-FFF2-40B4-BE49-F238E27FC236}">
                <a16:creationId xmlns:a16="http://schemas.microsoft.com/office/drawing/2014/main" id="{E0DDA000-7599-E3CB-8429-3A2C638AD9B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75964" y="1396041"/>
            <a:ext cx="1831480" cy="2810055"/>
          </a:xfrm>
          <a:prstGeom prst="rect">
            <a:avLst/>
          </a:prstGeom>
        </p:spPr>
      </p:pic>
      <p:pic>
        <p:nvPicPr>
          <p:cNvPr id="8" name="Picture 7" descr="A picture containing text, font, label, poster&#10;&#10;Description automatically generated">
            <a:extLst>
              <a:ext uri="{FF2B5EF4-FFF2-40B4-BE49-F238E27FC236}">
                <a16:creationId xmlns:a16="http://schemas.microsoft.com/office/drawing/2014/main" id="{2E3B3A70-C8FD-507C-4FCB-B2CF021AA4E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832385" y="4285806"/>
            <a:ext cx="2133600" cy="2133600"/>
          </a:xfrm>
          <a:prstGeom prst="rect">
            <a:avLst/>
          </a:prstGeom>
        </p:spPr>
      </p:pic>
    </p:spTree>
    <p:extLst>
      <p:ext uri="{BB962C8B-B14F-4D97-AF65-F5344CB8AC3E}">
        <p14:creationId xmlns:p14="http://schemas.microsoft.com/office/powerpoint/2010/main" val="17254567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3999" cy="6857997"/>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2819400" y="0"/>
            <a:ext cx="5319015" cy="1120820"/>
          </a:xfrm>
          <a:prstGeom prst="rect">
            <a:avLst/>
          </a:prstGeom>
        </p:spPr>
        <p:txBody>
          <a:bodyPr vert="horz" wrap="square" lIns="0" tIns="12700" rIns="0" bIns="0" rtlCol="0">
            <a:spAutoFit/>
          </a:bodyPr>
          <a:lstStyle/>
          <a:p>
            <a:pPr marL="12700">
              <a:lnSpc>
                <a:spcPct val="100000"/>
              </a:lnSpc>
              <a:spcBef>
                <a:spcPts val="100"/>
              </a:spcBef>
            </a:pPr>
            <a:r>
              <a:rPr lang="en-US" sz="3600" dirty="0">
                <a:latin typeface="Arial"/>
                <a:cs typeface="Arial"/>
              </a:rPr>
              <a:t>Op Analytics Development Options</a:t>
            </a:r>
            <a:endParaRPr sz="3600" dirty="0">
              <a:latin typeface="Arial"/>
              <a:cs typeface="Arial"/>
            </a:endParaRPr>
          </a:p>
        </p:txBody>
      </p:sp>
      <p:pic>
        <p:nvPicPr>
          <p:cNvPr id="5" name="Picture 4" descr="Graphical user interface, text, application, chat or text message&#10;&#10;Description automatically generated">
            <a:extLst>
              <a:ext uri="{FF2B5EF4-FFF2-40B4-BE49-F238E27FC236}">
                <a16:creationId xmlns:a16="http://schemas.microsoft.com/office/drawing/2014/main" id="{EE3B9F42-3089-4F7F-A6B7-BF0CBB54CDC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0800" y="1415320"/>
            <a:ext cx="2397184" cy="2796063"/>
          </a:xfrm>
          <a:prstGeom prst="rect">
            <a:avLst/>
          </a:prstGeom>
        </p:spPr>
      </p:pic>
      <p:cxnSp>
        <p:nvCxnSpPr>
          <p:cNvPr id="7" name="Straight Arrow Connector 6">
            <a:extLst>
              <a:ext uri="{FF2B5EF4-FFF2-40B4-BE49-F238E27FC236}">
                <a16:creationId xmlns:a16="http://schemas.microsoft.com/office/drawing/2014/main" id="{5AECFA4D-DF14-4734-99AB-A4F2E72F59BD}"/>
              </a:ext>
            </a:extLst>
          </p:cNvPr>
          <p:cNvCxnSpPr>
            <a:cxnSpLocks/>
          </p:cNvCxnSpPr>
          <p:nvPr/>
        </p:nvCxnSpPr>
        <p:spPr>
          <a:xfrm>
            <a:off x="1005585" y="5410200"/>
            <a:ext cx="730021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E03AFE0-BCD7-47D3-A652-8C79F3C3E4DD}"/>
              </a:ext>
            </a:extLst>
          </p:cNvPr>
          <p:cNvSpPr/>
          <p:nvPr/>
        </p:nvSpPr>
        <p:spPr>
          <a:xfrm>
            <a:off x="34037" y="5143500"/>
            <a:ext cx="880364"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ime/</a:t>
            </a:r>
          </a:p>
          <a:p>
            <a:pPr algn="ctr"/>
            <a:r>
              <a:rPr lang="en-US" dirty="0"/>
              <a:t>Cost</a:t>
            </a:r>
          </a:p>
        </p:txBody>
      </p:sp>
      <p:sp>
        <p:nvSpPr>
          <p:cNvPr id="11" name="Rectangle 10">
            <a:extLst>
              <a:ext uri="{FF2B5EF4-FFF2-40B4-BE49-F238E27FC236}">
                <a16:creationId xmlns:a16="http://schemas.microsoft.com/office/drawing/2014/main" id="{35C7099D-203E-4BCE-83D4-A2FB1A595740}"/>
              </a:ext>
            </a:extLst>
          </p:cNvPr>
          <p:cNvSpPr/>
          <p:nvPr/>
        </p:nvSpPr>
        <p:spPr>
          <a:xfrm>
            <a:off x="6890846" y="5541830"/>
            <a:ext cx="1460246" cy="833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n campus or Hybrid MS Programs</a:t>
            </a:r>
          </a:p>
        </p:txBody>
      </p:sp>
      <p:sp>
        <p:nvSpPr>
          <p:cNvPr id="15" name="Rectangle 14">
            <a:extLst>
              <a:ext uri="{FF2B5EF4-FFF2-40B4-BE49-F238E27FC236}">
                <a16:creationId xmlns:a16="http://schemas.microsoft.com/office/drawing/2014/main" id="{6F2FE63E-19AB-4794-9349-F1D3710B97B9}"/>
              </a:ext>
            </a:extLst>
          </p:cNvPr>
          <p:cNvSpPr/>
          <p:nvPr/>
        </p:nvSpPr>
        <p:spPr>
          <a:xfrm>
            <a:off x="6890846" y="4430686"/>
            <a:ext cx="1460246" cy="833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 </a:t>
            </a:r>
            <a:r>
              <a:rPr lang="en-US" dirty="0" err="1"/>
              <a:t>yrs</a:t>
            </a:r>
            <a:r>
              <a:rPr lang="en-US" dirty="0"/>
              <a:t>, $50-100k</a:t>
            </a:r>
          </a:p>
        </p:txBody>
      </p:sp>
      <p:sp>
        <p:nvSpPr>
          <p:cNvPr id="17" name="Rectangle 16">
            <a:extLst>
              <a:ext uri="{FF2B5EF4-FFF2-40B4-BE49-F238E27FC236}">
                <a16:creationId xmlns:a16="http://schemas.microsoft.com/office/drawing/2014/main" id="{9B84EA8D-DF92-477E-849E-C3D141F08948}"/>
              </a:ext>
            </a:extLst>
          </p:cNvPr>
          <p:cNvSpPr/>
          <p:nvPr/>
        </p:nvSpPr>
        <p:spPr>
          <a:xfrm>
            <a:off x="1002792" y="5550929"/>
            <a:ext cx="1460246" cy="5907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n-Line, Virtual</a:t>
            </a:r>
          </a:p>
        </p:txBody>
      </p:sp>
      <p:sp>
        <p:nvSpPr>
          <p:cNvPr id="18" name="Rectangle 17">
            <a:extLst>
              <a:ext uri="{FF2B5EF4-FFF2-40B4-BE49-F238E27FC236}">
                <a16:creationId xmlns:a16="http://schemas.microsoft.com/office/drawing/2014/main" id="{1F6E650F-1412-4078-98DA-3A9C0EA67149}"/>
              </a:ext>
            </a:extLst>
          </p:cNvPr>
          <p:cNvSpPr/>
          <p:nvPr/>
        </p:nvSpPr>
        <p:spPr>
          <a:xfrm>
            <a:off x="1024127" y="4410404"/>
            <a:ext cx="1460246" cy="833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 days to 6 mos. $600-$5,000</a:t>
            </a:r>
          </a:p>
        </p:txBody>
      </p:sp>
      <p:pic>
        <p:nvPicPr>
          <p:cNvPr id="20" name="Picture 19" descr="Graphical user interface&#10;&#10;Description automatically generated">
            <a:extLst>
              <a:ext uri="{FF2B5EF4-FFF2-40B4-BE49-F238E27FC236}">
                <a16:creationId xmlns:a16="http://schemas.microsoft.com/office/drawing/2014/main" id="{BCEA8260-813C-44BC-90C6-702BDFD0BC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36" y="1401505"/>
            <a:ext cx="2928710" cy="2887908"/>
          </a:xfrm>
          <a:prstGeom prst="rect">
            <a:avLst/>
          </a:prstGeom>
        </p:spPr>
      </p:pic>
      <p:sp>
        <p:nvSpPr>
          <p:cNvPr id="21" name="Rectangle 20">
            <a:extLst>
              <a:ext uri="{FF2B5EF4-FFF2-40B4-BE49-F238E27FC236}">
                <a16:creationId xmlns:a16="http://schemas.microsoft.com/office/drawing/2014/main" id="{16E16858-6976-49AB-AC1B-5A5CC7215422}"/>
              </a:ext>
            </a:extLst>
          </p:cNvPr>
          <p:cNvSpPr/>
          <p:nvPr/>
        </p:nvSpPr>
        <p:spPr>
          <a:xfrm>
            <a:off x="3952680" y="5874094"/>
            <a:ext cx="1686119" cy="5907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ybrid/ Blended Model</a:t>
            </a:r>
          </a:p>
        </p:txBody>
      </p:sp>
      <p:sp>
        <p:nvSpPr>
          <p:cNvPr id="23" name="TextBox 22">
            <a:extLst>
              <a:ext uri="{FF2B5EF4-FFF2-40B4-BE49-F238E27FC236}">
                <a16:creationId xmlns:a16="http://schemas.microsoft.com/office/drawing/2014/main" id="{6990F5C2-6EA8-46CC-937C-8930B8B49B41}"/>
              </a:ext>
            </a:extLst>
          </p:cNvPr>
          <p:cNvSpPr txBox="1"/>
          <p:nvPr/>
        </p:nvSpPr>
        <p:spPr>
          <a:xfrm>
            <a:off x="267581" y="6141713"/>
            <a:ext cx="2419858" cy="646331"/>
          </a:xfrm>
          <a:prstGeom prst="rect">
            <a:avLst/>
          </a:prstGeom>
          <a:noFill/>
        </p:spPr>
        <p:txBody>
          <a:bodyPr wrap="square">
            <a:spAutoFit/>
          </a:bodyPr>
          <a:lstStyle/>
          <a:p>
            <a:r>
              <a:rPr lang="en-US" sz="1200" dirty="0">
                <a:hlinkClick r:id="rId5"/>
              </a:rPr>
              <a:t>https://careerfoundry.com/en/blog/data-analytics/best-data-analytics-certification-programs/</a:t>
            </a:r>
            <a:r>
              <a:rPr lang="en-US" sz="1200" dirty="0"/>
              <a:t> </a:t>
            </a:r>
          </a:p>
        </p:txBody>
      </p:sp>
      <p:sp>
        <p:nvSpPr>
          <p:cNvPr id="24" name="Rectangle 23">
            <a:extLst>
              <a:ext uri="{FF2B5EF4-FFF2-40B4-BE49-F238E27FC236}">
                <a16:creationId xmlns:a16="http://schemas.microsoft.com/office/drawing/2014/main" id="{DF2D0631-EDC0-4EB3-8EF2-8B7E56F37211}"/>
              </a:ext>
            </a:extLst>
          </p:cNvPr>
          <p:cNvSpPr/>
          <p:nvPr/>
        </p:nvSpPr>
        <p:spPr>
          <a:xfrm>
            <a:off x="3429000" y="3839352"/>
            <a:ext cx="2708328" cy="1975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0 hours ++, $400 students + $250 for certification</a:t>
            </a:r>
          </a:p>
          <a:p>
            <a:pPr algn="ctr"/>
            <a:r>
              <a:rPr lang="en-US" dirty="0"/>
              <a:t>$475/675 member/non-member + $550 for the certification</a:t>
            </a:r>
          </a:p>
          <a:p>
            <a:pPr algn="ctr"/>
            <a:endParaRPr lang="en-US" dirty="0"/>
          </a:p>
        </p:txBody>
      </p:sp>
      <p:pic>
        <p:nvPicPr>
          <p:cNvPr id="6" name="Picture 5" descr="A picture containing text, sign, tableware, dishware&#10;&#10;Description automatically generated">
            <a:extLst>
              <a:ext uri="{FF2B5EF4-FFF2-40B4-BE49-F238E27FC236}">
                <a16:creationId xmlns:a16="http://schemas.microsoft.com/office/drawing/2014/main" id="{1A5F3193-3F9F-48EC-8F3F-05A2FA1F46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64999" y="2652103"/>
            <a:ext cx="2505573" cy="912029"/>
          </a:xfrm>
          <a:prstGeom prst="rect">
            <a:avLst/>
          </a:prstGeom>
        </p:spPr>
      </p:pic>
    </p:spTree>
    <p:extLst>
      <p:ext uri="{BB962C8B-B14F-4D97-AF65-F5344CB8AC3E}">
        <p14:creationId xmlns:p14="http://schemas.microsoft.com/office/powerpoint/2010/main" val="8205059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3999" cy="6857997"/>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2895600" y="76200"/>
            <a:ext cx="6064196" cy="1120820"/>
          </a:xfrm>
          <a:prstGeom prst="rect">
            <a:avLst/>
          </a:prstGeom>
        </p:spPr>
        <p:txBody>
          <a:bodyPr vert="horz" wrap="square" lIns="0" tIns="12700" rIns="0" bIns="0" rtlCol="0">
            <a:spAutoFit/>
          </a:bodyPr>
          <a:lstStyle/>
          <a:p>
            <a:pPr marL="12700">
              <a:lnSpc>
                <a:spcPct val="100000"/>
              </a:lnSpc>
              <a:spcBef>
                <a:spcPts val="100"/>
              </a:spcBef>
            </a:pPr>
            <a:r>
              <a:rPr lang="en-US" sz="3600" dirty="0">
                <a:latin typeface="Arial"/>
                <a:cs typeface="Arial"/>
              </a:rPr>
              <a:t>Op Analytics represents huge opportunity for ISE’s</a:t>
            </a:r>
            <a:endParaRPr sz="3600" dirty="0">
              <a:latin typeface="Arial"/>
              <a:cs typeface="Arial"/>
            </a:endParaRPr>
          </a:p>
        </p:txBody>
      </p:sp>
      <p:sp>
        <p:nvSpPr>
          <p:cNvPr id="16" name="Content Placeholder 2">
            <a:extLst>
              <a:ext uri="{FF2B5EF4-FFF2-40B4-BE49-F238E27FC236}">
                <a16:creationId xmlns:a16="http://schemas.microsoft.com/office/drawing/2014/main" id="{2C9BEAD5-E54B-4B28-A3AF-E18BC065FC6A}"/>
              </a:ext>
            </a:extLst>
          </p:cNvPr>
          <p:cNvSpPr txBox="1">
            <a:spLocks/>
          </p:cNvSpPr>
          <p:nvPr/>
        </p:nvSpPr>
        <p:spPr>
          <a:xfrm>
            <a:off x="426720" y="1449705"/>
            <a:ext cx="8339138" cy="6047809"/>
          </a:xfrm>
          <a:prstGeom prst="rect">
            <a:avLst/>
          </a:prstGeom>
        </p:spPr>
        <p:txBody>
          <a:bodyPr wrap="square" lIns="0" tIns="0" rIns="0" bIns="0">
            <a:spAutoFit/>
          </a:bodyPr>
          <a:lstStyle>
            <a:lvl1pPr marL="0">
              <a:defRPr sz="1800" b="0" i="0">
                <a:solidFill>
                  <a:schemeClr val="bg1"/>
                </a:solidFill>
                <a:latin typeface="Baskerville Old Face"/>
                <a:ea typeface="+mn-ea"/>
                <a:cs typeface="Baskerville Old Face"/>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600" b="1" kern="0" dirty="0">
                <a:solidFill>
                  <a:schemeClr val="tx1"/>
                </a:solidFill>
              </a:rPr>
              <a:t>In Partnership with: </a:t>
            </a:r>
          </a:p>
          <a:p>
            <a:r>
              <a:rPr lang="en-US" sz="1400" kern="0" dirty="0">
                <a:solidFill>
                  <a:schemeClr val="tx1"/>
                </a:solidFill>
              </a:rPr>
              <a:t>	</a:t>
            </a:r>
            <a:r>
              <a:rPr lang="en-US" sz="1600" kern="0" dirty="0">
                <a:solidFill>
                  <a:schemeClr val="tx1"/>
                </a:solidFill>
              </a:rPr>
              <a:t>The Poirier Group</a:t>
            </a:r>
          </a:p>
          <a:p>
            <a:r>
              <a:rPr lang="en-US" sz="1600" kern="0" dirty="0">
                <a:solidFill>
                  <a:schemeClr val="tx1"/>
                </a:solidFill>
              </a:rPr>
              <a:t>	Moresteam University</a:t>
            </a:r>
          </a:p>
          <a:p>
            <a:r>
              <a:rPr lang="en-US" sz="1600" kern="0" dirty="0">
                <a:solidFill>
                  <a:schemeClr val="tx1"/>
                </a:solidFill>
              </a:rPr>
              <a:t>	</a:t>
            </a:r>
            <a:r>
              <a:rPr lang="en-US" sz="1400" kern="0" dirty="0">
                <a:solidFill>
                  <a:schemeClr val="tx1"/>
                </a:solidFill>
              </a:rPr>
              <a:t>	</a:t>
            </a:r>
          </a:p>
          <a:p>
            <a:r>
              <a:rPr lang="en-US" b="1" kern="0" dirty="0">
                <a:solidFill>
                  <a:schemeClr val="accent2">
                    <a:lumMod val="50000"/>
                  </a:schemeClr>
                </a:solidFill>
              </a:rPr>
              <a:t>Delivered Uniquely:</a:t>
            </a:r>
          </a:p>
          <a:p>
            <a:r>
              <a:rPr lang="en-US" sz="1400" b="1" kern="0" dirty="0">
                <a:solidFill>
                  <a:schemeClr val="tx1"/>
                </a:solidFill>
              </a:rPr>
              <a:t>IISE Digital Op Ex ‘Mall and Stores’ </a:t>
            </a:r>
          </a:p>
          <a:p>
            <a:pPr lvl="3">
              <a:buFont typeface="Courier New" panose="02070309020205020404" pitchFamily="49" charset="0"/>
              <a:buChar char="o"/>
            </a:pPr>
            <a:r>
              <a:rPr lang="en-US" sz="1400" b="1" kern="0" dirty="0"/>
              <a:t>10+ Video Modules for easy, self-paced consumption/learning</a:t>
            </a:r>
          </a:p>
          <a:p>
            <a:pPr lvl="3">
              <a:buFont typeface="Courier New" panose="02070309020205020404" pitchFamily="49" charset="0"/>
              <a:buChar char="o"/>
            </a:pPr>
            <a:r>
              <a:rPr lang="en-US" sz="1400" b="1" kern="0" dirty="0"/>
              <a:t>‘Chat’ Support with Coaches</a:t>
            </a:r>
          </a:p>
          <a:p>
            <a:pPr lvl="3">
              <a:buFont typeface="Courier New" panose="02070309020205020404" pitchFamily="49" charset="0"/>
              <a:buChar char="o"/>
            </a:pPr>
            <a:r>
              <a:rPr lang="en-US" sz="1400" b="1" kern="0" dirty="0"/>
              <a:t> Periodic Huddles for virtual coaching</a:t>
            </a:r>
          </a:p>
          <a:p>
            <a:pPr lvl="3">
              <a:buFont typeface="Courier New" panose="02070309020205020404" pitchFamily="49" charset="0"/>
              <a:buChar char="o"/>
            </a:pPr>
            <a:r>
              <a:rPr lang="en-US" sz="1400" b="1" kern="0" dirty="0"/>
              <a:t> Certificate requires an on-line final exam</a:t>
            </a:r>
          </a:p>
          <a:p>
            <a:pPr lvl="3">
              <a:buFont typeface="Courier New" panose="02070309020205020404" pitchFamily="49" charset="0"/>
              <a:buChar char="o"/>
            </a:pPr>
            <a:r>
              <a:rPr lang="en-US" sz="1400" b="1" kern="0" dirty="0"/>
              <a:t> Certification requires the Certificate plus a reduction to practice, proof of skill project</a:t>
            </a:r>
            <a:r>
              <a:rPr lang="en-US" sz="500" b="1" kern="0" dirty="0"/>
              <a:t>		</a:t>
            </a:r>
          </a:p>
          <a:p>
            <a:r>
              <a:rPr lang="en-US" sz="1400" kern="0" dirty="0">
                <a:solidFill>
                  <a:schemeClr val="tx1"/>
                </a:solidFill>
              </a:rPr>
              <a:t>Module 1:  OA Thought Leader Perspectives</a:t>
            </a:r>
          </a:p>
          <a:p>
            <a:r>
              <a:rPr lang="en-US" sz="1400" kern="0" dirty="0">
                <a:solidFill>
                  <a:schemeClr val="tx1"/>
                </a:solidFill>
              </a:rPr>
              <a:t>Module 2:  Operational Analytics Perspectives, Points of View and Foundational Principles and Methods and Models</a:t>
            </a:r>
          </a:p>
          <a:p>
            <a:r>
              <a:rPr lang="en-US" sz="1400" kern="0" dirty="0">
                <a:solidFill>
                  <a:schemeClr val="tx1"/>
                </a:solidFill>
              </a:rPr>
              <a:t>Module 3:  Operational Analytics:  The Foundational Data Management Role</a:t>
            </a:r>
          </a:p>
          <a:p>
            <a:r>
              <a:rPr lang="en-US" sz="1400" kern="0" dirty="0">
                <a:solidFill>
                  <a:schemeClr val="tx1"/>
                </a:solidFill>
              </a:rPr>
              <a:t>Module 4:  Operational Analytics:  The Analyst, Decision/Action Support Role</a:t>
            </a:r>
          </a:p>
          <a:p>
            <a:r>
              <a:rPr lang="en-US" sz="1400" kern="0" dirty="0">
                <a:solidFill>
                  <a:schemeClr val="tx1"/>
                </a:solidFill>
              </a:rPr>
              <a:t>Module 5:  Data Sciences and The New Industrial and Systems Engineering</a:t>
            </a:r>
          </a:p>
          <a:p>
            <a:r>
              <a:rPr lang="en-US" sz="1400" kern="0" dirty="0">
                <a:solidFill>
                  <a:schemeClr val="tx1"/>
                </a:solidFill>
              </a:rPr>
              <a:t>Module 6:  Operational Analytics:  The Evaluation Role</a:t>
            </a:r>
          </a:p>
          <a:p>
            <a:r>
              <a:rPr lang="en-US" sz="1400" kern="0" dirty="0">
                <a:solidFill>
                  <a:schemeClr val="tx1"/>
                </a:solidFill>
              </a:rPr>
              <a:t>Module 7:  Operational Analytics—Visual Measurement/Management Systems (Parts I, II, III)</a:t>
            </a:r>
          </a:p>
          <a:p>
            <a:r>
              <a:rPr lang="en-US" sz="1400" kern="0" dirty="0">
                <a:solidFill>
                  <a:schemeClr val="tx1"/>
                </a:solidFill>
              </a:rPr>
              <a:t>Module 8:  Operational Analytics:  Putting it All Together:  Case Studies</a:t>
            </a:r>
          </a:p>
          <a:p>
            <a:r>
              <a:rPr lang="en-US" sz="1400" kern="0" dirty="0">
                <a:solidFill>
                  <a:schemeClr val="tx1"/>
                </a:solidFill>
              </a:rPr>
              <a:t>Module 9: The Role of Data and Information (Engineered Management Systems) in Periods of Major Disruption, Reducing the Latencies</a:t>
            </a:r>
          </a:p>
          <a:p>
            <a:r>
              <a:rPr lang="en-US" sz="1400" kern="0" dirty="0">
                <a:solidFill>
                  <a:schemeClr val="tx1"/>
                </a:solidFill>
              </a:rPr>
              <a:t>Module 10:  Creating Cultures that Support Full Potential Performance/Operational Excellence</a:t>
            </a:r>
          </a:p>
          <a:p>
            <a:endParaRPr lang="en-US" sz="1400" kern="0" dirty="0">
              <a:solidFill>
                <a:schemeClr val="tx1"/>
              </a:solidFill>
            </a:endParaRPr>
          </a:p>
          <a:p>
            <a:pPr lvl="1"/>
            <a:endParaRPr lang="en-US" kern="0" dirty="0"/>
          </a:p>
          <a:p>
            <a:pPr lvl="1"/>
            <a:endParaRPr lang="en-US" kern="0" dirty="0"/>
          </a:p>
          <a:p>
            <a:pPr lvl="1"/>
            <a:endParaRPr lang="en-US" kern="0" dirty="0">
              <a:solidFill>
                <a:sysClr val="windowText" lastClr="000000"/>
              </a:solidFill>
            </a:endParaRPr>
          </a:p>
        </p:txBody>
      </p:sp>
      <p:pic>
        <p:nvPicPr>
          <p:cNvPr id="17" name="Picture 2" descr="Image result for poirier group logo">
            <a:extLst>
              <a:ext uri="{FF2B5EF4-FFF2-40B4-BE49-F238E27FC236}">
                <a16:creationId xmlns:a16="http://schemas.microsoft.com/office/drawing/2014/main" id="{40A65FBC-B627-4578-8622-21D5047010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9485" y="1572768"/>
            <a:ext cx="2333625" cy="93345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Moresteam Logo">
            <a:extLst>
              <a:ext uri="{FF2B5EF4-FFF2-40B4-BE49-F238E27FC236}">
                <a16:creationId xmlns:a16="http://schemas.microsoft.com/office/drawing/2014/main" id="{EB9A8E85-43E6-4AB0-8A3F-25BA201BBC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35040" y="1467993"/>
            <a:ext cx="2667000"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63780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AD04C-4B7B-4B25-B277-A9A3C13DB393}"/>
              </a:ext>
            </a:extLst>
          </p:cNvPr>
          <p:cNvSpPr>
            <a:spLocks noGrp="1"/>
          </p:cNvSpPr>
          <p:nvPr>
            <p:ph type="title"/>
          </p:nvPr>
        </p:nvSpPr>
        <p:spPr>
          <a:xfrm>
            <a:off x="628650" y="23018"/>
            <a:ext cx="7886700" cy="1325563"/>
          </a:xfrm>
        </p:spPr>
        <p:txBody>
          <a:bodyPr/>
          <a:lstStyle/>
          <a:p>
            <a:r>
              <a:rPr lang="en-US" dirty="0"/>
              <a:t>Operational Analytics—Opportunity Framing</a:t>
            </a:r>
          </a:p>
        </p:txBody>
      </p:sp>
      <p:sp>
        <p:nvSpPr>
          <p:cNvPr id="7" name="Slide Number Placeholder 6">
            <a:extLst>
              <a:ext uri="{FF2B5EF4-FFF2-40B4-BE49-F238E27FC236}">
                <a16:creationId xmlns:a16="http://schemas.microsoft.com/office/drawing/2014/main" id="{8DE86ABC-3FDA-4E29-AE74-843A935ECEDD}"/>
              </a:ext>
            </a:extLst>
          </p:cNvPr>
          <p:cNvSpPr>
            <a:spLocks noGrp="1"/>
          </p:cNvSpPr>
          <p:nvPr>
            <p:ph type="sldNum" sz="quarter" idx="12"/>
          </p:nvPr>
        </p:nvSpPr>
        <p:spPr/>
        <p:txBody>
          <a:bodyPr/>
          <a:lstStyle/>
          <a:p>
            <a:fld id="{B1F560D5-53A7-4969-B8DF-E1F637D39903}" type="slidenum">
              <a:rPr lang="en-CA" smtClean="0"/>
              <a:t>7</a:t>
            </a:fld>
            <a:endParaRPr lang="en-CA"/>
          </a:p>
        </p:txBody>
      </p:sp>
      <p:pic>
        <p:nvPicPr>
          <p:cNvPr id="4" name="Picture 3" descr="A picture containing text, clipart&#10;&#10;Description automatically generated">
            <a:extLst>
              <a:ext uri="{FF2B5EF4-FFF2-40B4-BE49-F238E27FC236}">
                <a16:creationId xmlns:a16="http://schemas.microsoft.com/office/drawing/2014/main" id="{65E46EC6-C6B7-438D-A30A-EB95E873D1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4342" y="1600200"/>
            <a:ext cx="5465715" cy="2040335"/>
          </a:xfrm>
          <a:prstGeom prst="rect">
            <a:avLst/>
          </a:prstGeom>
        </p:spPr>
      </p:pic>
      <p:sp>
        <p:nvSpPr>
          <p:cNvPr id="5" name="Rectangle 4">
            <a:extLst>
              <a:ext uri="{FF2B5EF4-FFF2-40B4-BE49-F238E27FC236}">
                <a16:creationId xmlns:a16="http://schemas.microsoft.com/office/drawing/2014/main" id="{91AF4710-E7ED-4C43-93C6-634B527FF067}"/>
              </a:ext>
            </a:extLst>
          </p:cNvPr>
          <p:cNvSpPr/>
          <p:nvPr/>
        </p:nvSpPr>
        <p:spPr>
          <a:xfrm>
            <a:off x="3695700" y="3962400"/>
            <a:ext cx="1752600" cy="11370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Avoid the Muddle!</a:t>
            </a:r>
          </a:p>
        </p:txBody>
      </p:sp>
    </p:spTree>
    <p:extLst>
      <p:ext uri="{BB962C8B-B14F-4D97-AF65-F5344CB8AC3E}">
        <p14:creationId xmlns:p14="http://schemas.microsoft.com/office/powerpoint/2010/main" val="215756251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8287" y="3"/>
            <a:ext cx="9143999" cy="6857997"/>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396902" y="1447800"/>
            <a:ext cx="2498698" cy="4721805"/>
          </a:xfrm>
          <a:prstGeom prst="rect">
            <a:avLst/>
          </a:prstGeom>
        </p:spPr>
        <p:txBody>
          <a:bodyPr vert="horz" wrap="square" lIns="0" tIns="12700" rIns="0" bIns="0" rtlCol="0">
            <a:spAutoFit/>
          </a:bodyPr>
          <a:lstStyle/>
          <a:p>
            <a:pPr marL="12700">
              <a:lnSpc>
                <a:spcPct val="100000"/>
              </a:lnSpc>
              <a:spcBef>
                <a:spcPts val="100"/>
              </a:spcBef>
            </a:pPr>
            <a:r>
              <a:rPr lang="en-US" sz="1800" dirty="0">
                <a:solidFill>
                  <a:schemeClr val="tx2">
                    <a:lumMod val="75000"/>
                  </a:schemeClr>
                </a:solidFill>
                <a:latin typeface="Arial"/>
                <a:cs typeface="Arial"/>
              </a:rPr>
              <a:t>10 fundamental modules make up the certificate program.</a:t>
            </a:r>
            <a:br>
              <a:rPr lang="en-US" sz="1800" dirty="0">
                <a:solidFill>
                  <a:schemeClr val="tx2">
                    <a:lumMod val="75000"/>
                  </a:schemeClr>
                </a:solidFill>
                <a:latin typeface="Arial"/>
                <a:cs typeface="Arial"/>
              </a:rPr>
            </a:br>
            <a:br>
              <a:rPr lang="en-US" sz="1800" dirty="0">
                <a:solidFill>
                  <a:schemeClr val="tx2">
                    <a:lumMod val="75000"/>
                  </a:schemeClr>
                </a:solidFill>
                <a:latin typeface="Arial"/>
                <a:cs typeface="Arial"/>
              </a:rPr>
            </a:br>
            <a:r>
              <a:rPr lang="en-US" sz="1800" dirty="0">
                <a:solidFill>
                  <a:schemeClr val="tx2">
                    <a:lumMod val="75000"/>
                  </a:schemeClr>
                </a:solidFill>
                <a:latin typeface="Arial"/>
                <a:cs typeface="Arial"/>
              </a:rPr>
              <a:t>On-demand Learning Management System.</a:t>
            </a:r>
            <a:br>
              <a:rPr lang="en-US" sz="1800" dirty="0">
                <a:solidFill>
                  <a:schemeClr val="tx2">
                    <a:lumMod val="75000"/>
                  </a:schemeClr>
                </a:solidFill>
                <a:latin typeface="Arial"/>
                <a:cs typeface="Arial"/>
              </a:rPr>
            </a:br>
            <a:br>
              <a:rPr lang="en-US" sz="1800" dirty="0">
                <a:solidFill>
                  <a:schemeClr val="tx2">
                    <a:lumMod val="75000"/>
                  </a:schemeClr>
                </a:solidFill>
                <a:latin typeface="Arial"/>
                <a:cs typeface="Arial"/>
              </a:rPr>
            </a:br>
            <a:r>
              <a:rPr lang="en-US" sz="1800" dirty="0">
                <a:solidFill>
                  <a:schemeClr val="tx2">
                    <a:lumMod val="75000"/>
                  </a:schemeClr>
                </a:solidFill>
                <a:latin typeface="Arial"/>
                <a:cs typeface="Arial"/>
              </a:rPr>
              <a:t>Chat Coaching and periodic ‘huddle’ coaching included.</a:t>
            </a:r>
            <a:br>
              <a:rPr lang="en-US" sz="1800" dirty="0">
                <a:solidFill>
                  <a:schemeClr val="tx2">
                    <a:lumMod val="75000"/>
                  </a:schemeClr>
                </a:solidFill>
                <a:latin typeface="Arial"/>
                <a:cs typeface="Arial"/>
              </a:rPr>
            </a:br>
            <a:br>
              <a:rPr lang="en-US" sz="1800" dirty="0">
                <a:solidFill>
                  <a:schemeClr val="tx2">
                    <a:lumMod val="75000"/>
                  </a:schemeClr>
                </a:solidFill>
                <a:latin typeface="Arial"/>
                <a:cs typeface="Arial"/>
              </a:rPr>
            </a:br>
            <a:r>
              <a:rPr lang="en-US" sz="1800" dirty="0">
                <a:solidFill>
                  <a:schemeClr val="tx2">
                    <a:lumMod val="75000"/>
                  </a:schemeClr>
                </a:solidFill>
                <a:latin typeface="Arial"/>
                <a:cs typeface="Arial"/>
              </a:rPr>
              <a:t>Approximately 120 hours of studying designed to be completed in 6 months or less.</a:t>
            </a:r>
            <a:br>
              <a:rPr lang="en-US" sz="1800" dirty="0">
                <a:solidFill>
                  <a:schemeClr val="tx2">
                    <a:lumMod val="75000"/>
                  </a:schemeClr>
                </a:solidFill>
                <a:latin typeface="Arial"/>
                <a:cs typeface="Arial"/>
              </a:rPr>
            </a:br>
            <a:endParaRPr sz="1800" dirty="0">
              <a:solidFill>
                <a:schemeClr val="tx2">
                  <a:lumMod val="75000"/>
                </a:schemeClr>
              </a:solidFill>
              <a:latin typeface="Arial"/>
              <a:cs typeface="Arial"/>
            </a:endParaRPr>
          </a:p>
        </p:txBody>
      </p:sp>
      <p:pic>
        <p:nvPicPr>
          <p:cNvPr id="5" name="Picture 4" descr="Graphical user interface, text, application, email&#10;&#10;Description automatically generated">
            <a:extLst>
              <a:ext uri="{FF2B5EF4-FFF2-40B4-BE49-F238E27FC236}">
                <a16:creationId xmlns:a16="http://schemas.microsoft.com/office/drawing/2014/main" id="{1BB08CA2-3D6A-4E61-B177-A136487177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9403" y="152400"/>
            <a:ext cx="5344271" cy="6315956"/>
          </a:xfrm>
          <a:prstGeom prst="rect">
            <a:avLst/>
          </a:prstGeom>
        </p:spPr>
      </p:pic>
    </p:spTree>
    <p:extLst>
      <p:ext uri="{BB962C8B-B14F-4D97-AF65-F5344CB8AC3E}">
        <p14:creationId xmlns:p14="http://schemas.microsoft.com/office/powerpoint/2010/main" val="167005621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CE8E0-10DD-4AB1-9B10-3090CF4D38AF}"/>
              </a:ext>
            </a:extLst>
          </p:cNvPr>
          <p:cNvSpPr>
            <a:spLocks noGrp="1"/>
          </p:cNvSpPr>
          <p:nvPr>
            <p:ph type="title"/>
          </p:nvPr>
        </p:nvSpPr>
        <p:spPr>
          <a:xfrm>
            <a:off x="619506" y="177181"/>
            <a:ext cx="7886700" cy="1325563"/>
          </a:xfrm>
        </p:spPr>
        <p:txBody>
          <a:bodyPr/>
          <a:lstStyle/>
          <a:p>
            <a:r>
              <a:rPr lang="en-US" dirty="0"/>
              <a:t>Feature Extraction</a:t>
            </a:r>
          </a:p>
        </p:txBody>
      </p:sp>
      <p:sp>
        <p:nvSpPr>
          <p:cNvPr id="3" name="Text Placeholder 2">
            <a:extLst>
              <a:ext uri="{FF2B5EF4-FFF2-40B4-BE49-F238E27FC236}">
                <a16:creationId xmlns:a16="http://schemas.microsoft.com/office/drawing/2014/main" id="{00B51AC9-A31E-49DC-9AE7-2D2A2FC008C4}"/>
              </a:ext>
            </a:extLst>
          </p:cNvPr>
          <p:cNvSpPr>
            <a:spLocks noGrp="1"/>
          </p:cNvSpPr>
          <p:nvPr>
            <p:ph type="body" idx="1"/>
          </p:nvPr>
        </p:nvSpPr>
        <p:spPr>
          <a:xfrm>
            <a:off x="637794" y="1240442"/>
            <a:ext cx="3868340" cy="823912"/>
          </a:xfrm>
        </p:spPr>
        <p:txBody>
          <a:bodyPr/>
          <a:lstStyle/>
          <a:p>
            <a:r>
              <a:rPr lang="en-US" dirty="0"/>
              <a:t>Organizational System Key Result Area (KRA’s)</a:t>
            </a:r>
          </a:p>
        </p:txBody>
      </p:sp>
      <p:sp>
        <p:nvSpPr>
          <p:cNvPr id="4" name="Content Placeholder 3">
            <a:extLst>
              <a:ext uri="{FF2B5EF4-FFF2-40B4-BE49-F238E27FC236}">
                <a16:creationId xmlns:a16="http://schemas.microsoft.com/office/drawing/2014/main" id="{716FD70A-6BC2-43AC-A722-26A847D3A023}"/>
              </a:ext>
            </a:extLst>
          </p:cNvPr>
          <p:cNvSpPr>
            <a:spLocks noGrp="1"/>
          </p:cNvSpPr>
          <p:nvPr>
            <p:ph sz="half" idx="2"/>
          </p:nvPr>
        </p:nvSpPr>
        <p:spPr/>
        <p:txBody>
          <a:bodyPr/>
          <a:lstStyle/>
          <a:p>
            <a:r>
              <a:rPr lang="en-US" dirty="0"/>
              <a:t>Effectiveness</a:t>
            </a:r>
          </a:p>
          <a:p>
            <a:r>
              <a:rPr lang="en-US" dirty="0"/>
              <a:t>Efficiency</a:t>
            </a:r>
          </a:p>
          <a:p>
            <a:r>
              <a:rPr lang="en-US" dirty="0"/>
              <a:t>Quality</a:t>
            </a:r>
          </a:p>
          <a:p>
            <a:r>
              <a:rPr lang="en-US" dirty="0"/>
              <a:t>Productivity</a:t>
            </a:r>
          </a:p>
          <a:p>
            <a:r>
              <a:rPr lang="en-US" dirty="0"/>
              <a:t>Innovation</a:t>
            </a:r>
          </a:p>
          <a:p>
            <a:r>
              <a:rPr lang="en-US" dirty="0"/>
              <a:t>Quality of Work Life</a:t>
            </a:r>
          </a:p>
          <a:p>
            <a:r>
              <a:rPr lang="en-US" dirty="0"/>
              <a:t>Profitability/</a:t>
            </a:r>
            <a:r>
              <a:rPr lang="en-US" dirty="0" err="1"/>
              <a:t>Budgetability</a:t>
            </a:r>
            <a:endParaRPr lang="en-US" dirty="0"/>
          </a:p>
          <a:p>
            <a:r>
              <a:rPr lang="en-US" dirty="0"/>
              <a:t>Sustainability/Resilience/Optionality</a:t>
            </a:r>
          </a:p>
        </p:txBody>
      </p:sp>
      <p:sp>
        <p:nvSpPr>
          <p:cNvPr id="5" name="Text Placeholder 4">
            <a:extLst>
              <a:ext uri="{FF2B5EF4-FFF2-40B4-BE49-F238E27FC236}">
                <a16:creationId xmlns:a16="http://schemas.microsoft.com/office/drawing/2014/main" id="{3536AD6E-342F-4EBD-AE30-1FE81C87820D}"/>
              </a:ext>
            </a:extLst>
          </p:cNvPr>
          <p:cNvSpPr>
            <a:spLocks noGrp="1"/>
          </p:cNvSpPr>
          <p:nvPr>
            <p:ph type="body" sz="quarter" idx="3"/>
          </p:nvPr>
        </p:nvSpPr>
        <p:spPr>
          <a:xfrm>
            <a:off x="4615767" y="1090788"/>
            <a:ext cx="3887391" cy="823912"/>
          </a:xfrm>
        </p:spPr>
        <p:txBody>
          <a:bodyPr/>
          <a:lstStyle/>
          <a:p>
            <a:r>
              <a:rPr lang="en-US" dirty="0"/>
              <a:t>Key Results/Key Performance Indicators</a:t>
            </a:r>
          </a:p>
        </p:txBody>
      </p:sp>
      <p:sp>
        <p:nvSpPr>
          <p:cNvPr id="6" name="Content Placeholder 5">
            <a:extLst>
              <a:ext uri="{FF2B5EF4-FFF2-40B4-BE49-F238E27FC236}">
                <a16:creationId xmlns:a16="http://schemas.microsoft.com/office/drawing/2014/main" id="{8375CE07-6D4F-417C-BAAE-E34A45D892E5}"/>
              </a:ext>
            </a:extLst>
          </p:cNvPr>
          <p:cNvSpPr>
            <a:spLocks noGrp="1"/>
          </p:cNvSpPr>
          <p:nvPr>
            <p:ph sz="quarter" idx="4"/>
          </p:nvPr>
        </p:nvSpPr>
        <p:spPr>
          <a:xfrm>
            <a:off x="4629152" y="2133600"/>
            <a:ext cx="3887391" cy="4056063"/>
          </a:xfrm>
        </p:spPr>
        <p:txBody>
          <a:bodyPr/>
          <a:lstStyle/>
          <a:p>
            <a:pPr marL="0" indent="0">
              <a:buNone/>
            </a:pPr>
            <a:r>
              <a:rPr lang="en-US" dirty="0"/>
              <a:t>One of the critical roles of the Analyst is to ‘understand the system’ (Deming’s Profound Knowledge) causally and select the right metrics (Measure What Matters).</a:t>
            </a:r>
          </a:p>
          <a:p>
            <a:pPr marL="0" indent="0">
              <a:buNone/>
            </a:pPr>
            <a:endParaRPr lang="en-US" dirty="0"/>
          </a:p>
          <a:p>
            <a:pPr marL="0" indent="0">
              <a:buNone/>
            </a:pPr>
            <a:r>
              <a:rPr lang="en-US" dirty="0"/>
              <a:t>This is the essence of Feature Extraction.  </a:t>
            </a:r>
          </a:p>
          <a:p>
            <a:pPr marL="0" indent="0">
              <a:buNone/>
            </a:pPr>
            <a:endParaRPr lang="en-US" dirty="0"/>
          </a:p>
          <a:p>
            <a:pPr marL="0" indent="0">
              <a:buNone/>
            </a:pPr>
            <a:r>
              <a:rPr lang="en-US" dirty="0"/>
              <a:t>Often this comes right from Value Stream Mapping and the identification of ‘control points’ (spots in a process were we do or can or should capture data and also where we can ‘manage’ the process).</a:t>
            </a:r>
          </a:p>
        </p:txBody>
      </p:sp>
      <p:sp>
        <p:nvSpPr>
          <p:cNvPr id="7" name="Slide Number Placeholder 6">
            <a:extLst>
              <a:ext uri="{FF2B5EF4-FFF2-40B4-BE49-F238E27FC236}">
                <a16:creationId xmlns:a16="http://schemas.microsoft.com/office/drawing/2014/main" id="{D7D1F4E8-C91B-489E-A07F-9CE6D70CC3D1}"/>
              </a:ext>
            </a:extLst>
          </p:cNvPr>
          <p:cNvSpPr>
            <a:spLocks noGrp="1"/>
          </p:cNvSpPr>
          <p:nvPr>
            <p:ph type="sldNum" sz="quarter" idx="12"/>
          </p:nvPr>
        </p:nvSpPr>
        <p:spPr/>
        <p:txBody>
          <a:bodyPr/>
          <a:lstStyle/>
          <a:p>
            <a:fld id="{B1F560D5-53A7-4969-B8DF-E1F637D39903}" type="slidenum">
              <a:rPr lang="en-CA" smtClean="0"/>
              <a:t>62</a:t>
            </a:fld>
            <a:endParaRPr lang="en-CA"/>
          </a:p>
        </p:txBody>
      </p:sp>
    </p:spTree>
    <p:extLst>
      <p:ext uri="{BB962C8B-B14F-4D97-AF65-F5344CB8AC3E}">
        <p14:creationId xmlns:p14="http://schemas.microsoft.com/office/powerpoint/2010/main" val="23773364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63500196-5DD5-4312-8F2E-3B90F2CC8744}"/>
              </a:ext>
            </a:extLst>
          </p:cNvPr>
          <p:cNvSpPr>
            <a:spLocks noGrp="1"/>
          </p:cNvSpPr>
          <p:nvPr>
            <p:ph type="title"/>
          </p:nvPr>
        </p:nvSpPr>
        <p:spPr>
          <a:xfrm>
            <a:off x="457200" y="550863"/>
            <a:ext cx="6275388" cy="742950"/>
          </a:xfrm>
        </p:spPr>
        <p:txBody>
          <a:bodyPr/>
          <a:lstStyle/>
          <a:p>
            <a:r>
              <a:rPr lang="en-US" altLang="en-US" sz="2800"/>
              <a:t>Zoom In:</a:t>
            </a:r>
            <a:br>
              <a:rPr lang="en-US" altLang="en-US" sz="2800"/>
            </a:br>
            <a:r>
              <a:rPr lang="en-US" altLang="en-US" sz="2400"/>
              <a:t>Saltine Line Control Points</a:t>
            </a:r>
            <a:endParaRPr lang="en-US" altLang="en-US" sz="2800"/>
          </a:p>
        </p:txBody>
      </p:sp>
      <p:sp>
        <p:nvSpPr>
          <p:cNvPr id="19459" name="Date Placeholder 3">
            <a:extLst>
              <a:ext uri="{FF2B5EF4-FFF2-40B4-BE49-F238E27FC236}">
                <a16:creationId xmlns:a16="http://schemas.microsoft.com/office/drawing/2014/main" id="{D13B6E7B-B8F4-4BBE-A430-5F938EFE92CB}"/>
              </a:ext>
            </a:extLst>
          </p:cNvPr>
          <p:cNvSpPr>
            <a:spLocks noGrp="1"/>
          </p:cNvSpPr>
          <p:nvPr>
            <p:ph type="dt" sz="quarter" idx="10"/>
          </p:nvPr>
        </p:nvSpPr>
        <p:spPr>
          <a:xfrm>
            <a:off x="457200" y="6496050"/>
            <a:ext cx="3038475" cy="2190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de-DE" altLang="en-US"/>
              <a:t> - </a:t>
            </a:r>
            <a:fld id="{8129B5F5-B6AB-44E3-8459-9958E4222284}" type="datetime1">
              <a:rPr lang="de-DE" altLang="en-US"/>
              <a:pPr eaLnBrk="1" hangingPunct="1"/>
              <a:t>11.06.2023</a:t>
            </a:fld>
            <a:r>
              <a:rPr lang="de-DE" altLang="en-US"/>
              <a:t> - </a:t>
            </a:r>
            <a:fld id="{B4E7EE32-7A72-49D9-A443-3C8793AFE23E}" type="slidenum">
              <a:rPr lang="de-DE" altLang="en-US"/>
              <a:pPr eaLnBrk="1" hangingPunct="1"/>
              <a:t>63</a:t>
            </a:fld>
            <a:endParaRPr lang="de-DE" altLang="en-US"/>
          </a:p>
          <a:p>
            <a:pPr eaLnBrk="1" hangingPunct="1"/>
            <a:endParaRPr lang="de-DE" altLang="en-US"/>
          </a:p>
        </p:txBody>
      </p:sp>
      <p:pic>
        <p:nvPicPr>
          <p:cNvPr id="19460" name="Picture 11">
            <a:extLst>
              <a:ext uri="{FF2B5EF4-FFF2-40B4-BE49-F238E27FC236}">
                <a16:creationId xmlns:a16="http://schemas.microsoft.com/office/drawing/2014/main" id="{D0DF7D7B-F629-4889-A7AE-65FE5776FC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9100" y="404813"/>
            <a:ext cx="1042988"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1" name="Picture 7">
            <a:extLst>
              <a:ext uri="{FF2B5EF4-FFF2-40B4-BE49-F238E27FC236}">
                <a16:creationId xmlns:a16="http://schemas.microsoft.com/office/drawing/2014/main" id="{DE76D29B-85AF-4E0B-B5C6-7D452C951D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201" t="15961" r="1826" b="23039"/>
          <a:stretch>
            <a:fillRect/>
          </a:stretch>
        </p:blipFill>
        <p:spPr bwMode="auto">
          <a:xfrm>
            <a:off x="-1588" y="1387475"/>
            <a:ext cx="9145588" cy="370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6E7F6914-390A-4200-B6D6-BFFBB2AD8521}"/>
              </a:ext>
            </a:extLst>
          </p:cNvPr>
          <p:cNvSpPr/>
          <p:nvPr/>
        </p:nvSpPr>
        <p:spPr>
          <a:xfrm>
            <a:off x="1314450" y="3802063"/>
            <a:ext cx="574675" cy="79216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 name="Rectangle 9">
            <a:extLst>
              <a:ext uri="{FF2B5EF4-FFF2-40B4-BE49-F238E27FC236}">
                <a16:creationId xmlns:a16="http://schemas.microsoft.com/office/drawing/2014/main" id="{13738C13-5D0A-4192-86AE-57FFCB593DCB}"/>
              </a:ext>
            </a:extLst>
          </p:cNvPr>
          <p:cNvSpPr/>
          <p:nvPr/>
        </p:nvSpPr>
        <p:spPr>
          <a:xfrm>
            <a:off x="2994025" y="3802063"/>
            <a:ext cx="738188" cy="79216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 name="Rectangle 10">
            <a:extLst>
              <a:ext uri="{FF2B5EF4-FFF2-40B4-BE49-F238E27FC236}">
                <a16:creationId xmlns:a16="http://schemas.microsoft.com/office/drawing/2014/main" id="{98B57CE9-4F79-4A1F-8AF7-B8306083A220}"/>
              </a:ext>
            </a:extLst>
          </p:cNvPr>
          <p:cNvSpPr/>
          <p:nvPr/>
        </p:nvSpPr>
        <p:spPr>
          <a:xfrm>
            <a:off x="3725863" y="3802063"/>
            <a:ext cx="558800" cy="79216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Rectangle 11">
            <a:extLst>
              <a:ext uri="{FF2B5EF4-FFF2-40B4-BE49-F238E27FC236}">
                <a16:creationId xmlns:a16="http://schemas.microsoft.com/office/drawing/2014/main" id="{E9F5445D-9DC6-418B-AAF6-F19C7326DC75}"/>
              </a:ext>
            </a:extLst>
          </p:cNvPr>
          <p:cNvSpPr/>
          <p:nvPr/>
        </p:nvSpPr>
        <p:spPr>
          <a:xfrm>
            <a:off x="5364163" y="3802063"/>
            <a:ext cx="557212" cy="79216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 name="Rectangle 12">
            <a:extLst>
              <a:ext uri="{FF2B5EF4-FFF2-40B4-BE49-F238E27FC236}">
                <a16:creationId xmlns:a16="http://schemas.microsoft.com/office/drawing/2014/main" id="{24FD04A4-838D-4822-8A7B-E44CF414854E}"/>
              </a:ext>
            </a:extLst>
          </p:cNvPr>
          <p:cNvSpPr/>
          <p:nvPr/>
        </p:nvSpPr>
        <p:spPr>
          <a:xfrm>
            <a:off x="6402388" y="3225800"/>
            <a:ext cx="557212" cy="136842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4" name="Down Arrow Callout 13">
            <a:extLst>
              <a:ext uri="{FF2B5EF4-FFF2-40B4-BE49-F238E27FC236}">
                <a16:creationId xmlns:a16="http://schemas.microsoft.com/office/drawing/2014/main" id="{830678A1-C76B-47BE-96CB-96E2A760BE0A}"/>
              </a:ext>
            </a:extLst>
          </p:cNvPr>
          <p:cNvSpPr/>
          <p:nvPr/>
        </p:nvSpPr>
        <p:spPr>
          <a:xfrm>
            <a:off x="884238" y="2863850"/>
            <a:ext cx="1416050" cy="914400"/>
          </a:xfrm>
          <a:prstGeom prst="down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MIXING</a:t>
            </a:r>
          </a:p>
          <a:p>
            <a:pPr algn="ctr">
              <a:defRPr/>
            </a:pPr>
            <a:r>
              <a:rPr lang="en-US" sz="1200" b="1" dirty="0"/>
              <a:t>Waste = 3.97%</a:t>
            </a:r>
          </a:p>
          <a:p>
            <a:pPr algn="ctr">
              <a:defRPr/>
            </a:pPr>
            <a:r>
              <a:rPr lang="en-US" sz="1100" dirty="0"/>
              <a:t>(0.56% production)</a:t>
            </a:r>
          </a:p>
        </p:txBody>
      </p:sp>
      <p:sp>
        <p:nvSpPr>
          <p:cNvPr id="15" name="Down Arrow Callout 14">
            <a:extLst>
              <a:ext uri="{FF2B5EF4-FFF2-40B4-BE49-F238E27FC236}">
                <a16:creationId xmlns:a16="http://schemas.microsoft.com/office/drawing/2014/main" id="{31B4988B-EDD9-4396-8F00-01359D307B5B}"/>
              </a:ext>
            </a:extLst>
          </p:cNvPr>
          <p:cNvSpPr/>
          <p:nvPr/>
        </p:nvSpPr>
        <p:spPr>
          <a:xfrm>
            <a:off x="2605088" y="2863850"/>
            <a:ext cx="1500187" cy="914400"/>
          </a:xfrm>
          <a:prstGeom prst="down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SHEET ROLLING</a:t>
            </a:r>
          </a:p>
          <a:p>
            <a:pPr algn="ctr">
              <a:defRPr/>
            </a:pPr>
            <a:r>
              <a:rPr lang="en-US" sz="1200" b="1" dirty="0"/>
              <a:t>Waste = 12.01%</a:t>
            </a:r>
          </a:p>
          <a:p>
            <a:pPr algn="ctr">
              <a:defRPr/>
            </a:pPr>
            <a:r>
              <a:rPr lang="en-US" sz="1100" dirty="0"/>
              <a:t>(1.70% production)</a:t>
            </a:r>
          </a:p>
        </p:txBody>
      </p:sp>
      <p:sp>
        <p:nvSpPr>
          <p:cNvPr id="17" name="Up Arrow Callout 16">
            <a:extLst>
              <a:ext uri="{FF2B5EF4-FFF2-40B4-BE49-F238E27FC236}">
                <a16:creationId xmlns:a16="http://schemas.microsoft.com/office/drawing/2014/main" id="{6411E2BF-B63A-407E-ADEF-B8238929154D}"/>
              </a:ext>
            </a:extLst>
          </p:cNvPr>
          <p:cNvSpPr/>
          <p:nvPr/>
        </p:nvSpPr>
        <p:spPr>
          <a:xfrm>
            <a:off x="3298825" y="4621213"/>
            <a:ext cx="1441450" cy="914400"/>
          </a:xfrm>
          <a:prstGeom prst="up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BAKING</a:t>
            </a:r>
          </a:p>
          <a:p>
            <a:pPr algn="ctr">
              <a:defRPr/>
            </a:pPr>
            <a:r>
              <a:rPr lang="en-US" sz="1200" b="1" dirty="0"/>
              <a:t>Waste = 2.82%</a:t>
            </a:r>
          </a:p>
          <a:p>
            <a:pPr algn="ctr">
              <a:defRPr/>
            </a:pPr>
            <a:r>
              <a:rPr lang="en-US" sz="1100" dirty="0"/>
              <a:t>(0.40 % production)</a:t>
            </a:r>
          </a:p>
        </p:txBody>
      </p:sp>
      <p:sp>
        <p:nvSpPr>
          <p:cNvPr id="18" name="Down Arrow Callout 17">
            <a:extLst>
              <a:ext uri="{FF2B5EF4-FFF2-40B4-BE49-F238E27FC236}">
                <a16:creationId xmlns:a16="http://schemas.microsoft.com/office/drawing/2014/main" id="{17B284C4-2979-4B0A-86B1-68D5AB83C5B4}"/>
              </a:ext>
            </a:extLst>
          </p:cNvPr>
          <p:cNvSpPr/>
          <p:nvPr/>
        </p:nvSpPr>
        <p:spPr>
          <a:xfrm>
            <a:off x="4927600" y="2863850"/>
            <a:ext cx="1416050" cy="914400"/>
          </a:xfrm>
          <a:prstGeom prst="down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STACKING</a:t>
            </a:r>
          </a:p>
          <a:p>
            <a:pPr algn="ctr">
              <a:defRPr/>
            </a:pPr>
            <a:r>
              <a:rPr lang="en-US" sz="1200" b="1" dirty="0"/>
              <a:t>Waste = 63.49%</a:t>
            </a:r>
          </a:p>
          <a:p>
            <a:pPr algn="ctr">
              <a:defRPr/>
            </a:pPr>
            <a:r>
              <a:rPr lang="en-US" sz="1100" dirty="0"/>
              <a:t>(9.00% production)</a:t>
            </a:r>
          </a:p>
        </p:txBody>
      </p:sp>
      <p:sp>
        <p:nvSpPr>
          <p:cNvPr id="19" name="Up Arrow Callout 18">
            <a:extLst>
              <a:ext uri="{FF2B5EF4-FFF2-40B4-BE49-F238E27FC236}">
                <a16:creationId xmlns:a16="http://schemas.microsoft.com/office/drawing/2014/main" id="{B1569367-7259-43B2-B3AC-2BDBD17D1E97}"/>
              </a:ext>
            </a:extLst>
          </p:cNvPr>
          <p:cNvSpPr/>
          <p:nvPr/>
        </p:nvSpPr>
        <p:spPr>
          <a:xfrm>
            <a:off x="5984875" y="4603750"/>
            <a:ext cx="1439863" cy="914400"/>
          </a:xfrm>
          <a:prstGeom prst="up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WRAPPING</a:t>
            </a:r>
          </a:p>
          <a:p>
            <a:pPr algn="ctr">
              <a:defRPr/>
            </a:pPr>
            <a:r>
              <a:rPr lang="en-US" sz="1200" b="1" dirty="0"/>
              <a:t>Waste = 17.71%</a:t>
            </a:r>
          </a:p>
          <a:p>
            <a:pPr algn="ctr">
              <a:defRPr/>
            </a:pPr>
            <a:r>
              <a:rPr lang="en-US" sz="1100" dirty="0"/>
              <a:t>(2.51 % production)</a:t>
            </a:r>
          </a:p>
        </p:txBody>
      </p:sp>
      <p:sp>
        <p:nvSpPr>
          <p:cNvPr id="25" name="Rectangle 24">
            <a:extLst>
              <a:ext uri="{FF2B5EF4-FFF2-40B4-BE49-F238E27FC236}">
                <a16:creationId xmlns:a16="http://schemas.microsoft.com/office/drawing/2014/main" id="{D15ABD59-C4B0-4C28-ABAA-CEBE54BD4544}"/>
              </a:ext>
            </a:extLst>
          </p:cNvPr>
          <p:cNvSpPr/>
          <p:nvPr/>
        </p:nvSpPr>
        <p:spPr>
          <a:xfrm>
            <a:off x="8066088" y="3727450"/>
            <a:ext cx="466725" cy="700088"/>
          </a:xfrm>
          <a:prstGeom prst="rect">
            <a:avLst/>
          </a:prstGeom>
          <a:noFill/>
          <a:ln w="38100">
            <a:solidFill>
              <a:srgbClr val="C00000"/>
            </a:solidFill>
          </a:ln>
        </p:spPr>
        <p:style>
          <a:lnRef idx="2">
            <a:schemeClr val="accent3"/>
          </a:lnRef>
          <a:fillRef idx="1">
            <a:schemeClr val="lt1"/>
          </a:fillRef>
          <a:effectRef idx="0">
            <a:schemeClr val="accent3"/>
          </a:effectRef>
          <a:fontRef idx="minor">
            <a:schemeClr val="dk1"/>
          </a:fontRef>
        </p:style>
        <p:txBody>
          <a:bodyPr anchor="ctr"/>
          <a:lstStyle/>
          <a:p>
            <a:pPr algn="ctr">
              <a:defRPr/>
            </a:pPr>
            <a:endParaRPr lang="en-US"/>
          </a:p>
        </p:txBody>
      </p:sp>
      <p:sp>
        <p:nvSpPr>
          <p:cNvPr id="24" name="Rectangle 23">
            <a:extLst>
              <a:ext uri="{FF2B5EF4-FFF2-40B4-BE49-F238E27FC236}">
                <a16:creationId xmlns:a16="http://schemas.microsoft.com/office/drawing/2014/main" id="{1C78CBE2-2176-49A3-9C9C-273CD0FC202B}"/>
              </a:ext>
            </a:extLst>
          </p:cNvPr>
          <p:cNvSpPr/>
          <p:nvPr/>
        </p:nvSpPr>
        <p:spPr>
          <a:xfrm>
            <a:off x="179388" y="3733800"/>
            <a:ext cx="4392612" cy="936625"/>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6" name="Rectangle 25">
            <a:extLst>
              <a:ext uri="{FF2B5EF4-FFF2-40B4-BE49-F238E27FC236}">
                <a16:creationId xmlns:a16="http://schemas.microsoft.com/office/drawing/2014/main" id="{3B35E66D-07A7-408D-85B0-314EAD78B940}"/>
              </a:ext>
            </a:extLst>
          </p:cNvPr>
          <p:cNvSpPr/>
          <p:nvPr/>
        </p:nvSpPr>
        <p:spPr>
          <a:xfrm>
            <a:off x="4572000" y="3148013"/>
            <a:ext cx="4392613" cy="1525587"/>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7" name="Down Arrow Callout 26">
            <a:extLst>
              <a:ext uri="{FF2B5EF4-FFF2-40B4-BE49-F238E27FC236}">
                <a16:creationId xmlns:a16="http://schemas.microsoft.com/office/drawing/2014/main" id="{3E997F9C-6BA5-434A-82DF-B9D7545DD301}"/>
              </a:ext>
            </a:extLst>
          </p:cNvPr>
          <p:cNvSpPr/>
          <p:nvPr/>
        </p:nvSpPr>
        <p:spPr>
          <a:xfrm>
            <a:off x="1547813" y="2787650"/>
            <a:ext cx="1655762" cy="914400"/>
          </a:xfrm>
          <a:prstGeom prst="down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4</a:t>
            </a:r>
            <a:r>
              <a:rPr lang="en-US" sz="1200" b="1" baseline="30000" dirty="0"/>
              <a:t>th</a:t>
            </a:r>
            <a:r>
              <a:rPr lang="en-US" sz="1200" b="1" dirty="0"/>
              <a:t> Floor</a:t>
            </a:r>
          </a:p>
          <a:p>
            <a:pPr algn="ctr">
              <a:defRPr/>
            </a:pPr>
            <a:r>
              <a:rPr lang="en-US" sz="1200" b="1" dirty="0"/>
              <a:t>Waste = 1.66% </a:t>
            </a:r>
            <a:r>
              <a:rPr lang="en-US" sz="1200" dirty="0"/>
              <a:t>(production)</a:t>
            </a:r>
          </a:p>
        </p:txBody>
      </p:sp>
      <p:sp>
        <p:nvSpPr>
          <p:cNvPr id="28" name="Down Arrow Callout 27">
            <a:extLst>
              <a:ext uri="{FF2B5EF4-FFF2-40B4-BE49-F238E27FC236}">
                <a16:creationId xmlns:a16="http://schemas.microsoft.com/office/drawing/2014/main" id="{E8F8B8CD-D2E0-4DD4-8E9F-3F432889A540}"/>
              </a:ext>
            </a:extLst>
          </p:cNvPr>
          <p:cNvSpPr/>
          <p:nvPr/>
        </p:nvSpPr>
        <p:spPr>
          <a:xfrm>
            <a:off x="5940425" y="2211388"/>
            <a:ext cx="1655763" cy="914400"/>
          </a:xfrm>
          <a:prstGeom prst="downArrowCallou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3</a:t>
            </a:r>
            <a:r>
              <a:rPr lang="en-US" sz="1200" b="1" baseline="30000" dirty="0"/>
              <a:t>rd</a:t>
            </a:r>
            <a:r>
              <a:rPr lang="en-US" sz="1200" b="1" dirty="0"/>
              <a:t> Floor</a:t>
            </a:r>
          </a:p>
          <a:p>
            <a:pPr algn="ctr">
              <a:defRPr/>
            </a:pPr>
            <a:r>
              <a:rPr lang="en-US" sz="1200" b="1" dirty="0"/>
              <a:t>Waste = 12.77%</a:t>
            </a:r>
          </a:p>
          <a:p>
            <a:pPr algn="ctr">
              <a:defRPr/>
            </a:pPr>
            <a:r>
              <a:rPr lang="en-US" sz="1200" dirty="0"/>
              <a:t>(production)</a:t>
            </a:r>
          </a:p>
        </p:txBody>
      </p:sp>
      <p:sp>
        <p:nvSpPr>
          <p:cNvPr id="29" name="Title 1">
            <a:extLst>
              <a:ext uri="{FF2B5EF4-FFF2-40B4-BE49-F238E27FC236}">
                <a16:creationId xmlns:a16="http://schemas.microsoft.com/office/drawing/2014/main" id="{640268ED-9F3F-4D8E-9E72-034902603639}"/>
              </a:ext>
            </a:extLst>
          </p:cNvPr>
          <p:cNvSpPr txBox="1">
            <a:spLocks/>
          </p:cNvSpPr>
          <p:nvPr/>
        </p:nvSpPr>
        <p:spPr bwMode="auto">
          <a:xfrm>
            <a:off x="0" y="5492750"/>
            <a:ext cx="9144000" cy="930275"/>
          </a:xfrm>
          <a:prstGeom prst="rect">
            <a:avLst/>
          </a:prstGeom>
          <a:noFill/>
          <a:ln w="9525">
            <a:noFill/>
            <a:miter lim="800000"/>
            <a:headEnd/>
            <a:tailEnd/>
          </a:ln>
        </p:spPr>
        <p:txBody>
          <a:bodyPr anchor="ctr"/>
          <a:lstStyle/>
          <a:p>
            <a:pPr algn="ctr" eaLnBrk="0" hangingPunct="0">
              <a:defRPr/>
            </a:pPr>
            <a:r>
              <a:rPr lang="en-US" sz="1600" b="1" i="1" kern="0" dirty="0">
                <a:latin typeface="+mj-lt"/>
                <a:ea typeface="+mj-ea"/>
                <a:cs typeface="+mj-cs"/>
              </a:rPr>
              <a:t>This problem is nothing new and has actually been the focus of prior improvement projects.</a:t>
            </a:r>
          </a:p>
          <a:p>
            <a:pPr algn="ctr" eaLnBrk="0" hangingPunct="0">
              <a:defRPr/>
            </a:pPr>
            <a:r>
              <a:rPr lang="en-US" sz="1400" i="1" kern="0" dirty="0">
                <a:latin typeface="+mj-lt"/>
                <a:ea typeface="+mj-ea"/>
                <a:cs typeface="+mj-cs"/>
              </a:rPr>
              <a:t>We will take a look at 2 project that have sought to reduce the process variability and in turn, reduce waste.</a:t>
            </a:r>
          </a:p>
        </p:txBody>
      </p:sp>
    </p:spTree>
    <p:extLst>
      <p:ext uri="{BB962C8B-B14F-4D97-AF65-F5344CB8AC3E}">
        <p14:creationId xmlns:p14="http://schemas.microsoft.com/office/powerpoint/2010/main" val="339644218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24"/>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27"/>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8"/>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26"/>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nodeType="clickPar">
                      <p:stCondLst>
                        <p:cond delay="indefinite"/>
                      </p:stCondLst>
                      <p:childTnLst>
                        <p:par>
                          <p:cTn id="48" fill="hold" nodeType="withGroup">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7" grpId="0" animBg="1"/>
      <p:bldP spid="18" grpId="0" animBg="1"/>
      <p:bldP spid="19" grpId="0" animBg="1"/>
      <p:bldP spid="25" grpId="0" animBg="1"/>
      <p:bldP spid="24" grpId="0" animBg="1"/>
      <p:bldP spid="24" grpId="1" animBg="1"/>
      <p:bldP spid="26" grpId="0" animBg="1"/>
      <p:bldP spid="26" grpId="1" animBg="1"/>
      <p:bldP spid="27" grpId="0" animBg="1"/>
      <p:bldP spid="27" grpId="1" animBg="1"/>
      <p:bldP spid="28" grpId="0" animBg="1"/>
      <p:bldP spid="28" grpId="1" animBg="1"/>
      <p:bldP spid="29"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CE8E0-10DD-4AB1-9B10-3090CF4D38AF}"/>
              </a:ext>
            </a:extLst>
          </p:cNvPr>
          <p:cNvSpPr>
            <a:spLocks noGrp="1"/>
          </p:cNvSpPr>
          <p:nvPr>
            <p:ph type="title"/>
          </p:nvPr>
        </p:nvSpPr>
        <p:spPr>
          <a:xfrm>
            <a:off x="619506" y="177181"/>
            <a:ext cx="7886700" cy="1325563"/>
          </a:xfrm>
        </p:spPr>
        <p:txBody>
          <a:bodyPr/>
          <a:lstStyle/>
          <a:p>
            <a:r>
              <a:rPr lang="en-US" dirty="0"/>
              <a:t>Knowledge Extraction</a:t>
            </a:r>
          </a:p>
        </p:txBody>
      </p:sp>
      <p:sp>
        <p:nvSpPr>
          <p:cNvPr id="3" name="Text Placeholder 2">
            <a:extLst>
              <a:ext uri="{FF2B5EF4-FFF2-40B4-BE49-F238E27FC236}">
                <a16:creationId xmlns:a16="http://schemas.microsoft.com/office/drawing/2014/main" id="{00B51AC9-A31E-49DC-9AE7-2D2A2FC008C4}"/>
              </a:ext>
            </a:extLst>
          </p:cNvPr>
          <p:cNvSpPr>
            <a:spLocks noGrp="1"/>
          </p:cNvSpPr>
          <p:nvPr>
            <p:ph type="body" idx="1"/>
          </p:nvPr>
        </p:nvSpPr>
        <p:spPr>
          <a:xfrm>
            <a:off x="694516" y="884810"/>
            <a:ext cx="3868340" cy="823912"/>
          </a:xfrm>
        </p:spPr>
        <p:txBody>
          <a:bodyPr>
            <a:normAutofit lnSpcReduction="10000"/>
          </a:bodyPr>
          <a:lstStyle/>
          <a:p>
            <a:r>
              <a:rPr lang="en-US" dirty="0"/>
              <a:t>Key Results/KPI’s (outputs from analytics</a:t>
            </a:r>
          </a:p>
        </p:txBody>
      </p:sp>
      <p:sp>
        <p:nvSpPr>
          <p:cNvPr id="4" name="Content Placeholder 3">
            <a:extLst>
              <a:ext uri="{FF2B5EF4-FFF2-40B4-BE49-F238E27FC236}">
                <a16:creationId xmlns:a16="http://schemas.microsoft.com/office/drawing/2014/main" id="{716FD70A-6BC2-43AC-A722-26A847D3A023}"/>
              </a:ext>
            </a:extLst>
          </p:cNvPr>
          <p:cNvSpPr>
            <a:spLocks noGrp="1"/>
          </p:cNvSpPr>
          <p:nvPr>
            <p:ph sz="half" idx="2"/>
          </p:nvPr>
        </p:nvSpPr>
        <p:spPr>
          <a:xfrm>
            <a:off x="680037" y="2071927"/>
            <a:ext cx="3868340" cy="3684588"/>
          </a:xfrm>
        </p:spPr>
        <p:txBody>
          <a:bodyPr>
            <a:normAutofit fontScale="92500" lnSpcReduction="20000"/>
          </a:bodyPr>
          <a:lstStyle/>
          <a:p>
            <a:r>
              <a:rPr lang="en-US" dirty="0"/>
              <a:t>Lead Time</a:t>
            </a:r>
          </a:p>
          <a:p>
            <a:r>
              <a:rPr lang="en-US" dirty="0"/>
              <a:t>Throughput Capacity</a:t>
            </a:r>
          </a:p>
          <a:p>
            <a:r>
              <a:rPr lang="en-US" dirty="0"/>
              <a:t>Process Capability</a:t>
            </a:r>
          </a:p>
          <a:p>
            <a:r>
              <a:rPr lang="en-US" dirty="0"/>
              <a:t>Yield Loss</a:t>
            </a:r>
          </a:p>
          <a:p>
            <a:r>
              <a:rPr lang="en-US" dirty="0"/>
              <a:t>Cycle times</a:t>
            </a:r>
          </a:p>
          <a:p>
            <a:r>
              <a:rPr lang="en-US" dirty="0"/>
              <a:t>Takt time</a:t>
            </a:r>
          </a:p>
          <a:p>
            <a:r>
              <a:rPr lang="en-US" dirty="0"/>
              <a:t>Engagement </a:t>
            </a:r>
          </a:p>
          <a:p>
            <a:r>
              <a:rPr lang="en-US" dirty="0"/>
              <a:t>Competency Level</a:t>
            </a:r>
          </a:p>
          <a:p>
            <a:r>
              <a:rPr lang="en-US" dirty="0"/>
              <a:t>Process Maturity Level</a:t>
            </a:r>
          </a:p>
          <a:p>
            <a:r>
              <a:rPr lang="en-US" dirty="0"/>
              <a:t>Temperature</a:t>
            </a:r>
          </a:p>
          <a:p>
            <a:r>
              <a:rPr lang="en-US" dirty="0"/>
              <a:t>Pressure</a:t>
            </a:r>
          </a:p>
          <a:p>
            <a:r>
              <a:rPr lang="en-US" dirty="0"/>
              <a:t>Etc., </a:t>
            </a:r>
            <a:r>
              <a:rPr lang="en-US" dirty="0" err="1"/>
              <a:t>etc</a:t>
            </a:r>
            <a:r>
              <a:rPr lang="en-US" dirty="0"/>
              <a:t>…..</a:t>
            </a:r>
          </a:p>
          <a:p>
            <a:endParaRPr lang="en-US" dirty="0"/>
          </a:p>
        </p:txBody>
      </p:sp>
      <p:sp>
        <p:nvSpPr>
          <p:cNvPr id="5" name="Text Placeholder 4">
            <a:extLst>
              <a:ext uri="{FF2B5EF4-FFF2-40B4-BE49-F238E27FC236}">
                <a16:creationId xmlns:a16="http://schemas.microsoft.com/office/drawing/2014/main" id="{3536AD6E-342F-4EBD-AE30-1FE81C87820D}"/>
              </a:ext>
            </a:extLst>
          </p:cNvPr>
          <p:cNvSpPr>
            <a:spLocks noGrp="1"/>
          </p:cNvSpPr>
          <p:nvPr>
            <p:ph type="body" sz="quarter" idx="3"/>
          </p:nvPr>
        </p:nvSpPr>
        <p:spPr>
          <a:xfrm>
            <a:off x="4687729" y="1210859"/>
            <a:ext cx="3887391" cy="823912"/>
          </a:xfrm>
        </p:spPr>
        <p:txBody>
          <a:bodyPr>
            <a:normAutofit lnSpcReduction="10000"/>
          </a:bodyPr>
          <a:lstStyle/>
          <a:p>
            <a:r>
              <a:rPr lang="en-US" dirty="0"/>
              <a:t>Data/Facts portrayed in a way that creates insights, tells a story, helps us see and understand, answers questions (Learning to See)</a:t>
            </a:r>
          </a:p>
        </p:txBody>
      </p:sp>
      <p:sp>
        <p:nvSpPr>
          <p:cNvPr id="6" name="Content Placeholder 5">
            <a:extLst>
              <a:ext uri="{FF2B5EF4-FFF2-40B4-BE49-F238E27FC236}">
                <a16:creationId xmlns:a16="http://schemas.microsoft.com/office/drawing/2014/main" id="{8375CE07-6D4F-417C-BAAE-E34A45D892E5}"/>
              </a:ext>
            </a:extLst>
          </p:cNvPr>
          <p:cNvSpPr>
            <a:spLocks noGrp="1"/>
          </p:cNvSpPr>
          <p:nvPr>
            <p:ph sz="quarter" idx="4"/>
          </p:nvPr>
        </p:nvSpPr>
        <p:spPr>
          <a:xfrm>
            <a:off x="4687728" y="2300294"/>
            <a:ext cx="3887391" cy="4056063"/>
          </a:xfrm>
        </p:spPr>
        <p:txBody>
          <a:bodyPr>
            <a:normAutofit fontScale="92500" lnSpcReduction="20000"/>
          </a:bodyPr>
          <a:lstStyle/>
          <a:p>
            <a:pPr marL="0" indent="0">
              <a:buNone/>
            </a:pPr>
            <a:r>
              <a:rPr lang="en-US" sz="2600" dirty="0"/>
              <a:t>Analysts in Training struggle mightily with the difference between Feature Extraction and Knowledge Extraction and it can be subtle but often is very distinct and critical to success.</a:t>
            </a:r>
          </a:p>
          <a:p>
            <a:pPr marL="0" indent="0">
              <a:buNone/>
            </a:pPr>
            <a:endParaRPr lang="en-US" sz="2600" dirty="0"/>
          </a:p>
          <a:p>
            <a:pPr marL="0" indent="0">
              <a:buNone/>
            </a:pPr>
            <a:r>
              <a:rPr lang="en-US" sz="2600" dirty="0"/>
              <a:t>There is an art to it which is why it’s difficult to teach and at times difficult to master.</a:t>
            </a:r>
          </a:p>
          <a:p>
            <a:pPr marL="0" indent="0">
              <a:buNone/>
            </a:pPr>
            <a:endParaRPr lang="en-US" sz="2600" dirty="0"/>
          </a:p>
          <a:p>
            <a:pPr marL="0" indent="0">
              <a:buNone/>
            </a:pPr>
            <a:endParaRPr lang="en-US" dirty="0"/>
          </a:p>
        </p:txBody>
      </p:sp>
      <p:sp>
        <p:nvSpPr>
          <p:cNvPr id="7" name="Slide Number Placeholder 6">
            <a:extLst>
              <a:ext uri="{FF2B5EF4-FFF2-40B4-BE49-F238E27FC236}">
                <a16:creationId xmlns:a16="http://schemas.microsoft.com/office/drawing/2014/main" id="{D7D1F4E8-C91B-489E-A07F-9CE6D70CC3D1}"/>
              </a:ext>
            </a:extLst>
          </p:cNvPr>
          <p:cNvSpPr>
            <a:spLocks noGrp="1"/>
          </p:cNvSpPr>
          <p:nvPr>
            <p:ph type="sldNum" sz="quarter" idx="12"/>
          </p:nvPr>
        </p:nvSpPr>
        <p:spPr/>
        <p:txBody>
          <a:bodyPr/>
          <a:lstStyle/>
          <a:p>
            <a:fld id="{B1F560D5-53A7-4969-B8DF-E1F637D39903}" type="slidenum">
              <a:rPr lang="en-CA" smtClean="0"/>
              <a:t>64</a:t>
            </a:fld>
            <a:endParaRPr lang="en-CA"/>
          </a:p>
        </p:txBody>
      </p:sp>
    </p:spTree>
    <p:extLst>
      <p:ext uri="{BB962C8B-B14F-4D97-AF65-F5344CB8AC3E}">
        <p14:creationId xmlns:p14="http://schemas.microsoft.com/office/powerpoint/2010/main" val="12172004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A3A1A8B-27BF-538A-AE46-03936D172E6D}"/>
              </a:ext>
            </a:extLst>
          </p:cNvPr>
          <p:cNvSpPr>
            <a:spLocks noGrp="1"/>
          </p:cNvSpPr>
          <p:nvPr>
            <p:ph idx="1"/>
          </p:nvPr>
        </p:nvSpPr>
        <p:spPr>
          <a:xfrm>
            <a:off x="399124" y="626958"/>
            <a:ext cx="3924462" cy="3263504"/>
          </a:xfrm>
        </p:spPr>
        <p:txBody>
          <a:bodyPr>
            <a:normAutofit fontScale="92500" lnSpcReduction="20000"/>
          </a:bodyPr>
          <a:lstStyle/>
          <a:p>
            <a:endParaRPr lang="en-US" sz="1800" dirty="0"/>
          </a:p>
          <a:p>
            <a:pPr marL="0" indent="0">
              <a:buNone/>
            </a:pPr>
            <a:r>
              <a:rPr lang="en-US" sz="1800" dirty="0"/>
              <a:t>Q4 2022 Theme—Org/Op Excellence in Turbulent Times</a:t>
            </a:r>
          </a:p>
          <a:p>
            <a:r>
              <a:rPr lang="en-US" sz="1800" dirty="0"/>
              <a:t>September—Insightful Leadership:  Surfing the Waves to Organizational Excellence (Jim Tompkins)</a:t>
            </a:r>
          </a:p>
          <a:p>
            <a:r>
              <a:rPr lang="en-US" sz="1800" dirty="0"/>
              <a:t>September—Creating Improved Operational Excellence in Times of Economic Uncertainty and Challenges (David Poirier &amp; Jim Dobson)</a:t>
            </a:r>
          </a:p>
          <a:p>
            <a:r>
              <a:rPr lang="en-US" sz="1800" dirty="0"/>
              <a:t>December—Planning to Improve Productivity in Disruptive Economic Times (Scott Sink)</a:t>
            </a:r>
          </a:p>
          <a:p>
            <a:pPr>
              <a:buFont typeface="Wingdings" panose="05000000000000000000" pitchFamily="2" charset="2"/>
              <a:buChar char="§"/>
            </a:pPr>
            <a:endParaRPr lang="en-US" sz="1800" dirty="0"/>
          </a:p>
        </p:txBody>
      </p:sp>
      <p:sp>
        <p:nvSpPr>
          <p:cNvPr id="3" name="Slide Number Placeholder 2">
            <a:extLst>
              <a:ext uri="{FF2B5EF4-FFF2-40B4-BE49-F238E27FC236}">
                <a16:creationId xmlns:a16="http://schemas.microsoft.com/office/drawing/2014/main" id="{0E5F514E-2492-F27D-681E-D80900E7078A}"/>
              </a:ext>
            </a:extLst>
          </p:cNvPr>
          <p:cNvSpPr>
            <a:spLocks noGrp="1"/>
          </p:cNvSpPr>
          <p:nvPr>
            <p:ph type="sldNum" sz="quarter" idx="12"/>
          </p:nvPr>
        </p:nvSpPr>
        <p:spPr/>
        <p:txBody>
          <a:bodyPr/>
          <a:lstStyle/>
          <a:p>
            <a:fld id="{252FAAFE-A775-4D76-8C93-3D8F1DD12E14}" type="slidenum">
              <a:rPr lang="en-CA" smtClean="0"/>
              <a:t>65</a:t>
            </a:fld>
            <a:endParaRPr lang="en-CA"/>
          </a:p>
        </p:txBody>
      </p:sp>
      <p:sp>
        <p:nvSpPr>
          <p:cNvPr id="4" name="Title 3">
            <a:extLst>
              <a:ext uri="{FF2B5EF4-FFF2-40B4-BE49-F238E27FC236}">
                <a16:creationId xmlns:a16="http://schemas.microsoft.com/office/drawing/2014/main" id="{F890E94B-3FC1-3939-775E-B6AC4F3C7C07}"/>
              </a:ext>
            </a:extLst>
          </p:cNvPr>
          <p:cNvSpPr>
            <a:spLocks noGrp="1"/>
          </p:cNvSpPr>
          <p:nvPr>
            <p:ph type="title"/>
          </p:nvPr>
        </p:nvSpPr>
        <p:spPr>
          <a:xfrm>
            <a:off x="354298" y="136480"/>
            <a:ext cx="7886700" cy="644393"/>
          </a:xfrm>
        </p:spPr>
        <p:txBody>
          <a:bodyPr/>
          <a:lstStyle/>
          <a:p>
            <a:r>
              <a:rPr lang="en-US" dirty="0"/>
              <a:t>Webinar and Article ‘Offer Elements’ Plan &amp; Calendar</a:t>
            </a:r>
          </a:p>
        </p:txBody>
      </p:sp>
      <p:pic>
        <p:nvPicPr>
          <p:cNvPr id="14" name="Picture 13" descr="A picture containing text&#10;&#10;Description automatically generated">
            <a:extLst>
              <a:ext uri="{FF2B5EF4-FFF2-40B4-BE49-F238E27FC236}">
                <a16:creationId xmlns:a16="http://schemas.microsoft.com/office/drawing/2014/main" id="{8CADF318-01A5-2FFC-4F34-36B025AA5D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95412" y="625519"/>
            <a:ext cx="2706038" cy="3263505"/>
          </a:xfrm>
          <a:prstGeom prst="rect">
            <a:avLst/>
          </a:prstGeom>
        </p:spPr>
      </p:pic>
      <p:sp>
        <p:nvSpPr>
          <p:cNvPr id="15" name="Rectangle 14">
            <a:extLst>
              <a:ext uri="{FF2B5EF4-FFF2-40B4-BE49-F238E27FC236}">
                <a16:creationId xmlns:a16="http://schemas.microsoft.com/office/drawing/2014/main" id="{E4A69D80-730C-74A6-D1A3-D43426CEBD2E}"/>
              </a:ext>
            </a:extLst>
          </p:cNvPr>
          <p:cNvSpPr/>
          <p:nvPr/>
        </p:nvSpPr>
        <p:spPr>
          <a:xfrm>
            <a:off x="7418101" y="601337"/>
            <a:ext cx="1371600" cy="2072141"/>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0+ on-demand Professional Development Webinars in 10 categories of Performance Excellence</a:t>
            </a:r>
          </a:p>
          <a:p>
            <a:pPr algn="ctr"/>
            <a:endParaRPr lang="en-US" dirty="0"/>
          </a:p>
          <a:p>
            <a:pPr algn="ctr"/>
            <a:r>
              <a:rPr lang="en-US" dirty="0"/>
              <a:t>Just for you!!</a:t>
            </a:r>
          </a:p>
        </p:txBody>
      </p:sp>
      <p:sp>
        <p:nvSpPr>
          <p:cNvPr id="16" name="TextBox 15">
            <a:extLst>
              <a:ext uri="{FF2B5EF4-FFF2-40B4-BE49-F238E27FC236}">
                <a16:creationId xmlns:a16="http://schemas.microsoft.com/office/drawing/2014/main" id="{7667B206-BB8B-7F34-EC9A-CAAAED8D4A97}"/>
              </a:ext>
            </a:extLst>
          </p:cNvPr>
          <p:cNvSpPr txBox="1"/>
          <p:nvPr/>
        </p:nvSpPr>
        <p:spPr>
          <a:xfrm>
            <a:off x="7341903" y="2801968"/>
            <a:ext cx="1447798" cy="892552"/>
          </a:xfrm>
          <a:prstGeom prst="rect">
            <a:avLst/>
          </a:prstGeom>
          <a:noFill/>
        </p:spPr>
        <p:txBody>
          <a:bodyPr wrap="square" rtlCol="0">
            <a:spAutoFit/>
          </a:bodyPr>
          <a:lstStyle/>
          <a:p>
            <a:r>
              <a:rPr lang="en-US" dirty="0">
                <a:hlinkClick r:id="rId3"/>
              </a:rPr>
              <a:t>Click here to go to the IISE Perf Excellence Website page</a:t>
            </a:r>
            <a:endParaRPr lang="en-US" dirty="0"/>
          </a:p>
        </p:txBody>
      </p:sp>
      <p:pic>
        <p:nvPicPr>
          <p:cNvPr id="5" name="Picture 4" descr="Shape&#10;&#10;Description automatically generated with low confidence">
            <a:extLst>
              <a:ext uri="{FF2B5EF4-FFF2-40B4-BE49-F238E27FC236}">
                <a16:creationId xmlns:a16="http://schemas.microsoft.com/office/drawing/2014/main" id="{8204C545-596E-3824-65C6-A06734B7AF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5600" y="3823010"/>
            <a:ext cx="2233162" cy="3018904"/>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BFAEBA5D-BF04-041D-A747-8ADF6C9462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0800000">
            <a:off x="4598892" y="4059020"/>
            <a:ext cx="1844682" cy="2479937"/>
          </a:xfrm>
          <a:prstGeom prst="rect">
            <a:avLst/>
          </a:prstGeom>
        </p:spPr>
      </p:pic>
      <p:pic>
        <p:nvPicPr>
          <p:cNvPr id="10" name="Picture 9" descr="Graphical user interface, text, application&#10;&#10;Description automatically generated">
            <a:extLst>
              <a:ext uri="{FF2B5EF4-FFF2-40B4-BE49-F238E27FC236}">
                <a16:creationId xmlns:a16="http://schemas.microsoft.com/office/drawing/2014/main" id="{FBFE9DB8-F49F-69FE-175A-11AEE494576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9129" y="3727588"/>
            <a:ext cx="4278761" cy="2418574"/>
          </a:xfrm>
          <a:prstGeom prst="rect">
            <a:avLst/>
          </a:prstGeom>
        </p:spPr>
      </p:pic>
    </p:spTree>
    <p:extLst>
      <p:ext uri="{BB962C8B-B14F-4D97-AF65-F5344CB8AC3E}">
        <p14:creationId xmlns:p14="http://schemas.microsoft.com/office/powerpoint/2010/main" val="82091228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E5F514E-2492-F27D-681E-D80900E7078A}"/>
              </a:ext>
            </a:extLst>
          </p:cNvPr>
          <p:cNvSpPr>
            <a:spLocks noGrp="1"/>
          </p:cNvSpPr>
          <p:nvPr>
            <p:ph type="sldNum" sz="quarter" idx="12"/>
          </p:nvPr>
        </p:nvSpPr>
        <p:spPr/>
        <p:txBody>
          <a:bodyPr/>
          <a:lstStyle/>
          <a:p>
            <a:fld id="{252FAAFE-A775-4D76-8C93-3D8F1DD12E14}" type="slidenum">
              <a:rPr lang="en-CA" smtClean="0"/>
              <a:t>66</a:t>
            </a:fld>
            <a:endParaRPr lang="en-CA"/>
          </a:p>
        </p:txBody>
      </p:sp>
      <p:sp>
        <p:nvSpPr>
          <p:cNvPr id="4" name="Title 3">
            <a:extLst>
              <a:ext uri="{FF2B5EF4-FFF2-40B4-BE49-F238E27FC236}">
                <a16:creationId xmlns:a16="http://schemas.microsoft.com/office/drawing/2014/main" id="{F890E94B-3FC1-3939-775E-B6AC4F3C7C07}"/>
              </a:ext>
            </a:extLst>
          </p:cNvPr>
          <p:cNvSpPr>
            <a:spLocks noGrp="1"/>
          </p:cNvSpPr>
          <p:nvPr>
            <p:ph type="title"/>
          </p:nvPr>
        </p:nvSpPr>
        <p:spPr>
          <a:xfrm>
            <a:off x="354297" y="136480"/>
            <a:ext cx="8435403" cy="644393"/>
          </a:xfrm>
        </p:spPr>
        <p:txBody>
          <a:bodyPr/>
          <a:lstStyle/>
          <a:p>
            <a:r>
              <a:rPr lang="en-US" sz="2000" dirty="0"/>
              <a:t>We’ll build off our Op Ex/Analytics Series past and just ahead</a:t>
            </a:r>
          </a:p>
        </p:txBody>
      </p:sp>
      <p:pic>
        <p:nvPicPr>
          <p:cNvPr id="14" name="Picture 13" descr="A picture containing text&#10;&#10;Description automatically generated">
            <a:extLst>
              <a:ext uri="{FF2B5EF4-FFF2-40B4-BE49-F238E27FC236}">
                <a16:creationId xmlns:a16="http://schemas.microsoft.com/office/drawing/2014/main" id="{8CADF318-01A5-2FFC-4F34-36B025AA5D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5781" y="609600"/>
            <a:ext cx="2706038" cy="3263505"/>
          </a:xfrm>
          <a:prstGeom prst="rect">
            <a:avLst/>
          </a:prstGeom>
        </p:spPr>
      </p:pic>
      <p:sp>
        <p:nvSpPr>
          <p:cNvPr id="15" name="Rectangle 14">
            <a:extLst>
              <a:ext uri="{FF2B5EF4-FFF2-40B4-BE49-F238E27FC236}">
                <a16:creationId xmlns:a16="http://schemas.microsoft.com/office/drawing/2014/main" id="{E4A69D80-730C-74A6-D1A3-D43426CEBD2E}"/>
              </a:ext>
            </a:extLst>
          </p:cNvPr>
          <p:cNvSpPr/>
          <p:nvPr/>
        </p:nvSpPr>
        <p:spPr>
          <a:xfrm>
            <a:off x="363036" y="4038600"/>
            <a:ext cx="1371600" cy="2072141"/>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0+ on-demand Professional Development Webinars in 10 categories of Performance Excellence</a:t>
            </a:r>
          </a:p>
          <a:p>
            <a:pPr algn="ctr"/>
            <a:endParaRPr lang="en-US" dirty="0"/>
          </a:p>
          <a:p>
            <a:pPr algn="ctr"/>
            <a:r>
              <a:rPr lang="en-US" dirty="0"/>
              <a:t>Just for you!!</a:t>
            </a:r>
          </a:p>
        </p:txBody>
      </p:sp>
      <p:sp>
        <p:nvSpPr>
          <p:cNvPr id="16" name="TextBox 15">
            <a:extLst>
              <a:ext uri="{FF2B5EF4-FFF2-40B4-BE49-F238E27FC236}">
                <a16:creationId xmlns:a16="http://schemas.microsoft.com/office/drawing/2014/main" id="{7667B206-BB8B-7F34-EC9A-CAAAED8D4A97}"/>
              </a:ext>
            </a:extLst>
          </p:cNvPr>
          <p:cNvSpPr txBox="1"/>
          <p:nvPr/>
        </p:nvSpPr>
        <p:spPr>
          <a:xfrm>
            <a:off x="1734021" y="4628394"/>
            <a:ext cx="1447798" cy="892552"/>
          </a:xfrm>
          <a:prstGeom prst="rect">
            <a:avLst/>
          </a:prstGeom>
          <a:noFill/>
        </p:spPr>
        <p:txBody>
          <a:bodyPr wrap="square" rtlCol="0">
            <a:spAutoFit/>
          </a:bodyPr>
          <a:lstStyle/>
          <a:p>
            <a:r>
              <a:rPr lang="en-US" dirty="0">
                <a:hlinkClick r:id="rId3"/>
              </a:rPr>
              <a:t>Click here to go to the IISE Perf Excellence Website page</a:t>
            </a:r>
            <a:endParaRPr lang="en-US" dirty="0"/>
          </a:p>
        </p:txBody>
      </p:sp>
      <p:pic>
        <p:nvPicPr>
          <p:cNvPr id="9" name="Picture 8" descr="Text&#10;&#10;Description automatically generated">
            <a:extLst>
              <a:ext uri="{FF2B5EF4-FFF2-40B4-BE49-F238E27FC236}">
                <a16:creationId xmlns:a16="http://schemas.microsoft.com/office/drawing/2014/main" id="{9D56553E-B883-1665-1992-F906450497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2915" y="554966"/>
            <a:ext cx="5099538" cy="6324600"/>
          </a:xfrm>
          <a:prstGeom prst="rect">
            <a:avLst/>
          </a:prstGeom>
        </p:spPr>
      </p:pic>
    </p:spTree>
    <p:extLst>
      <p:ext uri="{BB962C8B-B14F-4D97-AF65-F5344CB8AC3E}">
        <p14:creationId xmlns:p14="http://schemas.microsoft.com/office/powerpoint/2010/main" val="129845505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cell phone&#10;&#10;Description automatically generated">
            <a:extLst>
              <a:ext uri="{FF2B5EF4-FFF2-40B4-BE49-F238E27FC236}">
                <a16:creationId xmlns:a16="http://schemas.microsoft.com/office/drawing/2014/main" id="{F08ADB85-CEE6-4844-A39F-09D9E4ACB6E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0"/>
            <a:ext cx="9144000" cy="6858000"/>
          </a:xfrm>
        </p:spPr>
      </p:pic>
    </p:spTree>
    <p:extLst>
      <p:ext uri="{BB962C8B-B14F-4D97-AF65-F5344CB8AC3E}">
        <p14:creationId xmlns:p14="http://schemas.microsoft.com/office/powerpoint/2010/main" val="230635224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Diagram&#10;&#10;Description automatically generated">
            <a:extLst>
              <a:ext uri="{FF2B5EF4-FFF2-40B4-BE49-F238E27FC236}">
                <a16:creationId xmlns:a16="http://schemas.microsoft.com/office/drawing/2014/main" id="{22828435-C926-41EF-BE5B-6B1CC9131717}"/>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152400" y="757453"/>
            <a:ext cx="6913562" cy="5781466"/>
          </a:xfrm>
        </p:spPr>
      </p:pic>
      <p:sp>
        <p:nvSpPr>
          <p:cNvPr id="7" name="Slide Number Placeholder 6">
            <a:extLst>
              <a:ext uri="{FF2B5EF4-FFF2-40B4-BE49-F238E27FC236}">
                <a16:creationId xmlns:a16="http://schemas.microsoft.com/office/drawing/2014/main" id="{7EFF8492-D3DD-4D02-8E99-33C169A54251}"/>
              </a:ext>
            </a:extLst>
          </p:cNvPr>
          <p:cNvSpPr>
            <a:spLocks noGrp="1"/>
          </p:cNvSpPr>
          <p:nvPr>
            <p:ph type="sldNum" sz="quarter" idx="12"/>
          </p:nvPr>
        </p:nvSpPr>
        <p:spPr/>
        <p:txBody>
          <a:bodyPr/>
          <a:lstStyle/>
          <a:p>
            <a:fld id="{B1F560D5-53A7-4969-B8DF-E1F637D39903}" type="slidenum">
              <a:rPr lang="en-CA" smtClean="0"/>
              <a:t>68</a:t>
            </a:fld>
            <a:endParaRPr lang="en-CA"/>
          </a:p>
        </p:txBody>
      </p:sp>
      <p:sp>
        <p:nvSpPr>
          <p:cNvPr id="2" name="Rectangle 1">
            <a:extLst>
              <a:ext uri="{FF2B5EF4-FFF2-40B4-BE49-F238E27FC236}">
                <a16:creationId xmlns:a16="http://schemas.microsoft.com/office/drawing/2014/main" id="{C1EB0006-35E2-4C72-960A-29522B14AE5D}"/>
              </a:ext>
            </a:extLst>
          </p:cNvPr>
          <p:cNvSpPr/>
          <p:nvPr/>
        </p:nvSpPr>
        <p:spPr>
          <a:xfrm>
            <a:off x="7065962" y="757453"/>
            <a:ext cx="1925638" cy="2366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t>Moving from Ad Hoc, Process Maturity Level 1 with Operational Analytics to PML’s 3-5 as appropriate.</a:t>
            </a:r>
          </a:p>
          <a:p>
            <a:endParaRPr lang="en-US" sz="1400" dirty="0"/>
          </a:p>
          <a:p>
            <a:r>
              <a:rPr lang="en-US" sz="1400" dirty="0"/>
              <a:t>A nice picture for Op Analytics I think…</a:t>
            </a:r>
          </a:p>
        </p:txBody>
      </p:sp>
    </p:spTree>
    <p:extLst>
      <p:ext uri="{BB962C8B-B14F-4D97-AF65-F5344CB8AC3E}">
        <p14:creationId xmlns:p14="http://schemas.microsoft.com/office/powerpoint/2010/main" val="2788429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BC43E-90BE-4961-FFE2-364EEA4DA82F}"/>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93619F33-AC27-E327-B958-D7918646B96B}"/>
              </a:ext>
            </a:extLst>
          </p:cNvPr>
          <p:cNvSpPr>
            <a:spLocks noGrp="1"/>
          </p:cNvSpPr>
          <p:nvPr>
            <p:ph type="body" idx="1"/>
          </p:nvPr>
        </p:nvSpPr>
        <p:spPr/>
        <p:txBody>
          <a:bodyPr/>
          <a:lstStyle/>
          <a:p>
            <a:endParaRPr lang="en-US"/>
          </a:p>
        </p:txBody>
      </p:sp>
      <p:pic>
        <p:nvPicPr>
          <p:cNvPr id="9" name="Content Placeholder 8" descr="A picture containing text, screenshot, circle, font&#10;&#10;Description automatically generated">
            <a:extLst>
              <a:ext uri="{FF2B5EF4-FFF2-40B4-BE49-F238E27FC236}">
                <a16:creationId xmlns:a16="http://schemas.microsoft.com/office/drawing/2014/main" id="{B7AAF705-91DB-3550-029A-D61FF20CFD20}"/>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30238" y="3396251"/>
            <a:ext cx="3868737" cy="1902236"/>
          </a:xfrm>
        </p:spPr>
      </p:pic>
      <p:sp>
        <p:nvSpPr>
          <p:cNvPr id="5" name="Text Placeholder 4">
            <a:extLst>
              <a:ext uri="{FF2B5EF4-FFF2-40B4-BE49-F238E27FC236}">
                <a16:creationId xmlns:a16="http://schemas.microsoft.com/office/drawing/2014/main" id="{5615539F-055D-BAA9-A2F6-AC68488E7FE3}"/>
              </a:ext>
            </a:extLst>
          </p:cNvPr>
          <p:cNvSpPr>
            <a:spLocks noGrp="1"/>
          </p:cNvSpPr>
          <p:nvPr>
            <p:ph type="body" sz="quarter" idx="3"/>
          </p:nvPr>
        </p:nvSpPr>
        <p:spPr/>
        <p:txBody>
          <a:bodyPr/>
          <a:lstStyle/>
          <a:p>
            <a:endParaRPr lang="en-US"/>
          </a:p>
        </p:txBody>
      </p:sp>
      <p:pic>
        <p:nvPicPr>
          <p:cNvPr id="11" name="Content Placeholder 10" descr="A picture containing text, circle, diagram, screenshot&#10;&#10;Description automatically generated">
            <a:extLst>
              <a:ext uri="{FF2B5EF4-FFF2-40B4-BE49-F238E27FC236}">
                <a16:creationId xmlns:a16="http://schemas.microsoft.com/office/drawing/2014/main" id="{DECA096E-25C6-8197-8570-10C70153B48D}"/>
              </a:ext>
            </a:extLst>
          </p:cNvPr>
          <p:cNvPicPr>
            <a:picLocks noGrp="1" noChangeAspect="1"/>
          </p:cNvPicPr>
          <p:nvPr>
            <p:ph sz="quarter" idx="4"/>
          </p:nvPr>
        </p:nvPicPr>
        <p:blipFill>
          <a:blip r:embed="rId3">
            <a:extLst>
              <a:ext uri="{28A0092B-C50C-407E-A947-70E740481C1C}">
                <a14:useLocalDpi xmlns:a14="http://schemas.microsoft.com/office/drawing/2010/main" val="0"/>
              </a:ext>
            </a:extLst>
          </a:blip>
          <a:stretch>
            <a:fillRect/>
          </a:stretch>
        </p:blipFill>
        <p:spPr>
          <a:xfrm>
            <a:off x="4629150" y="3008733"/>
            <a:ext cx="3887788" cy="2677272"/>
          </a:xfrm>
        </p:spPr>
      </p:pic>
      <p:sp>
        <p:nvSpPr>
          <p:cNvPr id="7" name="Slide Number Placeholder 6">
            <a:extLst>
              <a:ext uri="{FF2B5EF4-FFF2-40B4-BE49-F238E27FC236}">
                <a16:creationId xmlns:a16="http://schemas.microsoft.com/office/drawing/2014/main" id="{D21C9AFC-CE82-52A5-7BE8-3AE6E561DDEF}"/>
              </a:ext>
            </a:extLst>
          </p:cNvPr>
          <p:cNvSpPr>
            <a:spLocks noGrp="1"/>
          </p:cNvSpPr>
          <p:nvPr>
            <p:ph type="sldNum" sz="quarter" idx="12"/>
          </p:nvPr>
        </p:nvSpPr>
        <p:spPr/>
        <p:txBody>
          <a:bodyPr/>
          <a:lstStyle/>
          <a:p>
            <a:fld id="{B1F560D5-53A7-4969-B8DF-E1F637D39903}" type="slidenum">
              <a:rPr lang="en-CA" smtClean="0"/>
              <a:t>69</a:t>
            </a:fld>
            <a:endParaRPr lang="en-CA"/>
          </a:p>
        </p:txBody>
      </p:sp>
      <p:pic>
        <p:nvPicPr>
          <p:cNvPr id="13" name="Picture 12" descr="A close-up of a diagram&#10;&#10;Description automatically generated with low confidence">
            <a:extLst>
              <a:ext uri="{FF2B5EF4-FFF2-40B4-BE49-F238E27FC236}">
                <a16:creationId xmlns:a16="http://schemas.microsoft.com/office/drawing/2014/main" id="{9FCD2854-7961-CD97-D448-1D02168E36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4800" y="1573890"/>
            <a:ext cx="3887788" cy="3217145"/>
          </a:xfrm>
          <a:prstGeom prst="rect">
            <a:avLst/>
          </a:prstGeom>
        </p:spPr>
      </p:pic>
      <p:pic>
        <p:nvPicPr>
          <p:cNvPr id="15" name="Picture 14" descr="A picture containing text, screenshot, diagram, map&#10;&#10;Description automatically generated">
            <a:extLst>
              <a:ext uri="{FF2B5EF4-FFF2-40B4-BE49-F238E27FC236}">
                <a16:creationId xmlns:a16="http://schemas.microsoft.com/office/drawing/2014/main" id="{E85F4013-B6D1-16B7-718E-E1FB13144A4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00400" y="476250"/>
            <a:ext cx="5410200" cy="4057650"/>
          </a:xfrm>
          <a:prstGeom prst="rect">
            <a:avLst/>
          </a:prstGeom>
        </p:spPr>
      </p:pic>
      <p:sp>
        <p:nvSpPr>
          <p:cNvPr id="17" name="TextBox 16">
            <a:extLst>
              <a:ext uri="{FF2B5EF4-FFF2-40B4-BE49-F238E27FC236}">
                <a16:creationId xmlns:a16="http://schemas.microsoft.com/office/drawing/2014/main" id="{AF54C705-2F22-7980-8F85-99BC3F98D44E}"/>
              </a:ext>
            </a:extLst>
          </p:cNvPr>
          <p:cNvSpPr txBox="1"/>
          <p:nvPr/>
        </p:nvSpPr>
        <p:spPr>
          <a:xfrm>
            <a:off x="2000847" y="5694248"/>
            <a:ext cx="4572000" cy="292388"/>
          </a:xfrm>
          <a:prstGeom prst="rect">
            <a:avLst/>
          </a:prstGeom>
          <a:noFill/>
        </p:spPr>
        <p:txBody>
          <a:bodyPr wrap="square">
            <a:spAutoFit/>
          </a:bodyPr>
          <a:lstStyle/>
          <a:p>
            <a:r>
              <a:rPr lang="en-US" dirty="0"/>
              <a:t>https://hbr.org/2012/10/the-true-measures-of-success</a:t>
            </a:r>
          </a:p>
        </p:txBody>
      </p:sp>
      <p:sp>
        <p:nvSpPr>
          <p:cNvPr id="19" name="TextBox 18">
            <a:extLst>
              <a:ext uri="{FF2B5EF4-FFF2-40B4-BE49-F238E27FC236}">
                <a16:creationId xmlns:a16="http://schemas.microsoft.com/office/drawing/2014/main" id="{7DBC992F-4E1E-CA1D-DDE7-36F110DAACA9}"/>
              </a:ext>
            </a:extLst>
          </p:cNvPr>
          <p:cNvSpPr txBox="1"/>
          <p:nvPr/>
        </p:nvSpPr>
        <p:spPr>
          <a:xfrm>
            <a:off x="4038600" y="6166447"/>
            <a:ext cx="4572000" cy="292388"/>
          </a:xfrm>
          <a:prstGeom prst="rect">
            <a:avLst/>
          </a:prstGeom>
          <a:noFill/>
        </p:spPr>
        <p:txBody>
          <a:bodyPr wrap="square">
            <a:spAutoFit/>
          </a:bodyPr>
          <a:lstStyle/>
          <a:p>
            <a:r>
              <a:rPr lang="en-US" dirty="0"/>
              <a:t>https://hbr.org/2017/05/whats-your-data-strategy</a:t>
            </a:r>
          </a:p>
        </p:txBody>
      </p:sp>
    </p:spTree>
    <p:extLst>
      <p:ext uri="{BB962C8B-B14F-4D97-AF65-F5344CB8AC3E}">
        <p14:creationId xmlns:p14="http://schemas.microsoft.com/office/powerpoint/2010/main" val="1659171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172E6-EB4D-4CA9-B032-D89C0DD951AC}"/>
              </a:ext>
            </a:extLst>
          </p:cNvPr>
          <p:cNvSpPr>
            <a:spLocks noGrp="1"/>
          </p:cNvSpPr>
          <p:nvPr>
            <p:ph type="title"/>
          </p:nvPr>
        </p:nvSpPr>
        <p:spPr>
          <a:xfrm>
            <a:off x="281701" y="817937"/>
            <a:ext cx="8264129" cy="600920"/>
          </a:xfrm>
        </p:spPr>
        <p:txBody>
          <a:bodyPr>
            <a:noAutofit/>
          </a:bodyPr>
          <a:lstStyle/>
          <a:p>
            <a:r>
              <a:rPr lang="en-US" sz="2100" dirty="0"/>
              <a:t>Operational Analytics, done right, minimizes latencies and enhances ability to drive more rapid benefits realization</a:t>
            </a:r>
            <a:endParaRPr lang="en-CA" sz="2100" dirty="0"/>
          </a:p>
        </p:txBody>
      </p:sp>
      <p:sp>
        <p:nvSpPr>
          <p:cNvPr id="4" name="Slide Number Placeholder 3">
            <a:extLst>
              <a:ext uri="{FF2B5EF4-FFF2-40B4-BE49-F238E27FC236}">
                <a16:creationId xmlns:a16="http://schemas.microsoft.com/office/drawing/2014/main" id="{98681A5D-5099-4F5A-B20A-B41465BD82BD}"/>
              </a:ext>
            </a:extLst>
          </p:cNvPr>
          <p:cNvSpPr>
            <a:spLocks noGrp="1"/>
          </p:cNvSpPr>
          <p:nvPr>
            <p:ph type="sldNum" sz="quarter" idx="12"/>
          </p:nvPr>
        </p:nvSpPr>
        <p:spPr>
          <a:xfrm>
            <a:off x="6148067" y="2868473"/>
            <a:ext cx="2057400" cy="365125"/>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02F7A02-EF0D-4D82-9BFD-3DDF074AABBD}" type="slidenum">
              <a:rPr kumimoji="0" lang="en-CA" sz="900" b="0" i="0" u="none" strike="noStrike" kern="1200" cap="none" spc="0" normalizeH="0" baseline="0" noProof="0" smtClean="0">
                <a:ln>
                  <a:noFill/>
                </a:ln>
                <a:solidFill>
                  <a:prstClr val="black">
                    <a:tint val="75000"/>
                  </a:prstClr>
                </a:solidFill>
                <a:effectLst/>
                <a:uLnTx/>
                <a:uFillTx/>
                <a:latin typeface="Open Sans"/>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0</a:t>
            </a:fld>
            <a:endParaRPr kumimoji="0" lang="en-CA" sz="900" b="0" i="0" u="none" strike="noStrike" kern="1200" cap="none" spc="0" normalizeH="0" baseline="0" noProof="0" dirty="0">
              <a:ln>
                <a:noFill/>
              </a:ln>
              <a:solidFill>
                <a:prstClr val="black">
                  <a:tint val="75000"/>
                </a:prstClr>
              </a:solidFill>
              <a:effectLst/>
              <a:uLnTx/>
              <a:uFillTx/>
              <a:latin typeface="Open Sans"/>
              <a:ea typeface="+mn-ea"/>
              <a:cs typeface="+mn-cs"/>
            </a:endParaRPr>
          </a:p>
        </p:txBody>
      </p:sp>
      <p:pic>
        <p:nvPicPr>
          <p:cNvPr id="13" name="Picture 12">
            <a:extLst>
              <a:ext uri="{FF2B5EF4-FFF2-40B4-BE49-F238E27FC236}">
                <a16:creationId xmlns:a16="http://schemas.microsoft.com/office/drawing/2014/main" id="{2D6B5E61-311A-4087-969B-D1CED99EABA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8169" y="6292574"/>
            <a:ext cx="2483698" cy="164665"/>
          </a:xfrm>
          <a:prstGeom prst="rect">
            <a:avLst/>
          </a:prstGeom>
        </p:spPr>
      </p:pic>
      <p:pic>
        <p:nvPicPr>
          <p:cNvPr id="19" name="Picture 2" descr="http://community.qlikview.com/servlet/JiveServlet/showImage/38-2354-7987/Analysis%2BLatency.PNG">
            <a:extLst>
              <a:ext uri="{FF2B5EF4-FFF2-40B4-BE49-F238E27FC236}">
                <a16:creationId xmlns:a16="http://schemas.microsoft.com/office/drawing/2014/main" id="{C722F620-7C0D-4868-B175-317B4B45599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900320" y="1984641"/>
            <a:ext cx="3794384" cy="2230483"/>
          </a:xfrm>
          <a:prstGeom prst="rect">
            <a:avLst/>
          </a:prstGeom>
          <a:noFill/>
        </p:spPr>
      </p:pic>
      <p:grpSp>
        <p:nvGrpSpPr>
          <p:cNvPr id="20" name="Group 19">
            <a:extLst>
              <a:ext uri="{FF2B5EF4-FFF2-40B4-BE49-F238E27FC236}">
                <a16:creationId xmlns:a16="http://schemas.microsoft.com/office/drawing/2014/main" id="{A565A9EC-7D77-4424-9C33-3CA5D15B4ADA}"/>
              </a:ext>
            </a:extLst>
          </p:cNvPr>
          <p:cNvGrpSpPr/>
          <p:nvPr/>
        </p:nvGrpSpPr>
        <p:grpSpPr>
          <a:xfrm>
            <a:off x="366396" y="2927940"/>
            <a:ext cx="3352800" cy="1909549"/>
            <a:chOff x="4800600" y="2514600"/>
            <a:chExt cx="4044950" cy="3135313"/>
          </a:xfrm>
        </p:grpSpPr>
        <p:pic>
          <p:nvPicPr>
            <p:cNvPr id="21" name="Picture 2">
              <a:extLst>
                <a:ext uri="{FF2B5EF4-FFF2-40B4-BE49-F238E27FC236}">
                  <a16:creationId xmlns:a16="http://schemas.microsoft.com/office/drawing/2014/main" id="{B79618EE-9FBE-43D8-B310-D4C51E1773B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800600" y="2514600"/>
              <a:ext cx="4044950" cy="313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Connector 21">
              <a:extLst>
                <a:ext uri="{FF2B5EF4-FFF2-40B4-BE49-F238E27FC236}">
                  <a16:creationId xmlns:a16="http://schemas.microsoft.com/office/drawing/2014/main" id="{5CE2CCB5-B643-42D3-835D-A44A15A8164B}"/>
                </a:ext>
              </a:extLst>
            </p:cNvPr>
            <p:cNvCxnSpPr/>
            <p:nvPr/>
          </p:nvCxnSpPr>
          <p:spPr>
            <a:xfrm>
              <a:off x="5029199" y="4267200"/>
              <a:ext cx="35052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Up Arrow 10">
              <a:extLst>
                <a:ext uri="{FF2B5EF4-FFF2-40B4-BE49-F238E27FC236}">
                  <a16:creationId xmlns:a16="http://schemas.microsoft.com/office/drawing/2014/main" id="{C7DFDB5F-A410-4E77-8DC6-690869297D0A}"/>
                </a:ext>
              </a:extLst>
            </p:cNvPr>
            <p:cNvSpPr/>
            <p:nvPr/>
          </p:nvSpPr>
          <p:spPr>
            <a:xfrm>
              <a:off x="7848600" y="3103848"/>
              <a:ext cx="484632" cy="978408"/>
            </a:xfrm>
            <a:prstGeom prst="upArrow">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1800">
                <a:solidFill>
                  <a:srgbClr val="FFFFFF"/>
                </a:solidFill>
              </a:endParaRPr>
            </a:p>
          </p:txBody>
        </p:sp>
      </p:grpSp>
      <p:sp>
        <p:nvSpPr>
          <p:cNvPr id="24" name="Rectangle 23">
            <a:extLst>
              <a:ext uri="{FF2B5EF4-FFF2-40B4-BE49-F238E27FC236}">
                <a16:creationId xmlns:a16="http://schemas.microsoft.com/office/drawing/2014/main" id="{FB0033A8-A525-4CD7-9D36-C762174413F8}"/>
              </a:ext>
            </a:extLst>
          </p:cNvPr>
          <p:cNvSpPr/>
          <p:nvPr/>
        </p:nvSpPr>
        <p:spPr>
          <a:xfrm>
            <a:off x="452638" y="5260495"/>
            <a:ext cx="3739314" cy="737318"/>
          </a:xfrm>
          <a:prstGeom prst="rect">
            <a:avLst/>
          </a:prstGeom>
        </p:spPr>
        <p:txBody>
          <a:bodyPr wrap="square">
            <a:spAutoFit/>
          </a:bodyPr>
          <a:lstStyle/>
          <a:p>
            <a:pPr marL="0" marR="0" lvl="0" indent="0" algn="l" defTabSz="685800" rtl="0" eaLnBrk="1" fontAlgn="auto" latinLnBrk="0" hangingPunct="1">
              <a:lnSpc>
                <a:spcPct val="150000"/>
              </a:lnSpc>
              <a:spcBef>
                <a:spcPts val="0"/>
              </a:spcBef>
              <a:spcAft>
                <a:spcPts val="0"/>
              </a:spcAft>
              <a:buClr>
                <a:prstClr val="black"/>
              </a:buClr>
              <a:buSzTx/>
              <a:buFontTx/>
              <a:buNone/>
              <a:tabLst/>
              <a:defRPr/>
            </a:pPr>
            <a:r>
              <a:rPr lang="en-US" sz="1200" b="1" kern="0" dirty="0">
                <a:solidFill>
                  <a:prstClr val="black"/>
                </a:solidFill>
                <a:latin typeface="Open Sans"/>
              </a:rPr>
              <a:t>Reduce the cycle times on each step in this implicit process</a:t>
            </a:r>
            <a:endParaRPr kumimoji="0" lang="en-US" sz="1200" b="1" i="0" u="none" strike="noStrike" kern="0" cap="none" spc="0" normalizeH="0" baseline="0" noProof="0" dirty="0">
              <a:ln>
                <a:noFill/>
              </a:ln>
              <a:solidFill>
                <a:prstClr val="black"/>
              </a:solidFill>
              <a:effectLst/>
              <a:uLnTx/>
              <a:uFillTx/>
              <a:latin typeface="Open Sans"/>
              <a:ea typeface="+mn-ea"/>
              <a:cs typeface="+mn-cs"/>
            </a:endParaRPr>
          </a:p>
          <a:p>
            <a:pPr marL="0" marR="0" lvl="0" indent="0" algn="l" defTabSz="685800" rtl="0" eaLnBrk="1" fontAlgn="auto" latinLnBrk="0" hangingPunct="1">
              <a:lnSpc>
                <a:spcPct val="150000"/>
              </a:lnSpc>
              <a:spcBef>
                <a:spcPts val="0"/>
              </a:spcBef>
              <a:spcAft>
                <a:spcPts val="0"/>
              </a:spcAft>
              <a:buClr>
                <a:prstClr val="black"/>
              </a:buClr>
              <a:buSzTx/>
              <a:buFontTx/>
              <a:buNone/>
              <a:tabLst/>
              <a:defRPr/>
            </a:pPr>
            <a:endParaRPr kumimoji="0" lang="en-US" sz="450" b="1" i="0" u="none" strike="noStrike" kern="0" cap="none" spc="0" normalizeH="0" baseline="0" noProof="0" dirty="0">
              <a:ln>
                <a:noFill/>
              </a:ln>
              <a:solidFill>
                <a:prstClr val="black"/>
              </a:solidFill>
              <a:effectLst/>
              <a:uLnTx/>
              <a:uFillTx/>
              <a:latin typeface="Open Sans"/>
              <a:ea typeface="+mn-ea"/>
              <a:cs typeface="+mn-cs"/>
            </a:endParaRPr>
          </a:p>
        </p:txBody>
      </p:sp>
      <p:grpSp>
        <p:nvGrpSpPr>
          <p:cNvPr id="30" name="Group 29">
            <a:extLst>
              <a:ext uri="{FF2B5EF4-FFF2-40B4-BE49-F238E27FC236}">
                <a16:creationId xmlns:a16="http://schemas.microsoft.com/office/drawing/2014/main" id="{B47C8FCA-9581-44A5-8180-C56A6150303A}"/>
              </a:ext>
            </a:extLst>
          </p:cNvPr>
          <p:cNvGrpSpPr/>
          <p:nvPr/>
        </p:nvGrpSpPr>
        <p:grpSpPr>
          <a:xfrm>
            <a:off x="6923636" y="3389558"/>
            <a:ext cx="558998" cy="75122"/>
            <a:chOff x="4822825" y="4360865"/>
            <a:chExt cx="745331" cy="100162"/>
          </a:xfrm>
        </p:grpSpPr>
        <p:cxnSp>
          <p:nvCxnSpPr>
            <p:cNvPr id="10" name="Straight Arrow Connector 9">
              <a:extLst>
                <a:ext uri="{FF2B5EF4-FFF2-40B4-BE49-F238E27FC236}">
                  <a16:creationId xmlns:a16="http://schemas.microsoft.com/office/drawing/2014/main" id="{1F975C84-AE78-4A8D-A399-7B8C7CD5E811}"/>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2A1C2F6-31E0-4129-A39B-6ECECC50042B}"/>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CC46EBB-4A9E-4837-8519-0B7E6B9EA0A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90FEFAE-156D-4B3D-9BB9-35BB01ACAEF9}"/>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E17D31DB-9B82-499E-BC20-D0F9A2B0C090}"/>
              </a:ext>
            </a:extLst>
          </p:cNvPr>
          <p:cNvGrpSpPr/>
          <p:nvPr/>
        </p:nvGrpSpPr>
        <p:grpSpPr>
          <a:xfrm>
            <a:off x="6136011" y="3222787"/>
            <a:ext cx="558998" cy="75122"/>
            <a:chOff x="4822825" y="4360865"/>
            <a:chExt cx="745331" cy="100162"/>
          </a:xfrm>
        </p:grpSpPr>
        <p:cxnSp>
          <p:nvCxnSpPr>
            <p:cNvPr id="35" name="Straight Arrow Connector 34">
              <a:extLst>
                <a:ext uri="{FF2B5EF4-FFF2-40B4-BE49-F238E27FC236}">
                  <a16:creationId xmlns:a16="http://schemas.microsoft.com/office/drawing/2014/main" id="{2C84C461-8533-4BF7-89D9-6898BC100DA6}"/>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33C6543-59EF-477C-A5AA-89B3A115B060}"/>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CE3D64-31C3-4896-B649-92D26DDA581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8113144-02A4-4914-89D1-1BC1EF75AD02}"/>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B0A4039F-5828-4F1A-B40F-0E7CC707A23B}"/>
              </a:ext>
            </a:extLst>
          </p:cNvPr>
          <p:cNvGrpSpPr/>
          <p:nvPr/>
        </p:nvGrpSpPr>
        <p:grpSpPr>
          <a:xfrm>
            <a:off x="5401253" y="3140132"/>
            <a:ext cx="558998" cy="75122"/>
            <a:chOff x="4822825" y="4360865"/>
            <a:chExt cx="745331" cy="100162"/>
          </a:xfrm>
        </p:grpSpPr>
        <p:cxnSp>
          <p:nvCxnSpPr>
            <p:cNvPr id="40" name="Straight Arrow Connector 39">
              <a:extLst>
                <a:ext uri="{FF2B5EF4-FFF2-40B4-BE49-F238E27FC236}">
                  <a16:creationId xmlns:a16="http://schemas.microsoft.com/office/drawing/2014/main" id="{01A41798-C05A-40CF-80FD-6162805EC8CE}"/>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C7903AA-D918-49D9-9FA2-5230604377EF}"/>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278B70A-799F-4456-ACC0-8A2390F820D4}"/>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8C23C8D-D101-4181-BE4C-29C491849824}"/>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30730EE6-E503-4222-ACE4-9357A863B782}"/>
              </a:ext>
            </a:extLst>
          </p:cNvPr>
          <p:cNvGrpSpPr/>
          <p:nvPr/>
        </p:nvGrpSpPr>
        <p:grpSpPr>
          <a:xfrm>
            <a:off x="1056658" y="4571016"/>
            <a:ext cx="558998" cy="75122"/>
            <a:chOff x="4822825" y="4360865"/>
            <a:chExt cx="745331" cy="100162"/>
          </a:xfrm>
        </p:grpSpPr>
        <p:cxnSp>
          <p:nvCxnSpPr>
            <p:cNvPr id="78" name="Straight Arrow Connector 77">
              <a:extLst>
                <a:ext uri="{FF2B5EF4-FFF2-40B4-BE49-F238E27FC236}">
                  <a16:creationId xmlns:a16="http://schemas.microsoft.com/office/drawing/2014/main" id="{DE93D2EF-88EB-4556-A324-2CFA6BAF7357}"/>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8C23647A-E41E-48AC-ADDB-7AE9F77FFB78}"/>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1270BBA-22E7-42F4-9626-A96990634192}"/>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1DFC259-BA17-4559-8FEE-81E94EFAFBB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DB51DBA7-7FBC-4FB7-861D-045EC90773C6}"/>
              </a:ext>
            </a:extLst>
          </p:cNvPr>
          <p:cNvGrpSpPr/>
          <p:nvPr/>
        </p:nvGrpSpPr>
        <p:grpSpPr>
          <a:xfrm>
            <a:off x="2333841" y="4392845"/>
            <a:ext cx="558998" cy="75122"/>
            <a:chOff x="4822825" y="4360865"/>
            <a:chExt cx="745331" cy="100162"/>
          </a:xfrm>
        </p:grpSpPr>
        <p:cxnSp>
          <p:nvCxnSpPr>
            <p:cNvPr id="83" name="Straight Arrow Connector 82">
              <a:extLst>
                <a:ext uri="{FF2B5EF4-FFF2-40B4-BE49-F238E27FC236}">
                  <a16:creationId xmlns:a16="http://schemas.microsoft.com/office/drawing/2014/main" id="{C78C71A9-7555-4ABC-8617-F4FDB4562B48}"/>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2B120F74-BE40-4D82-8F80-B328C4C3C749}"/>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DCB2931-BDF4-4BD8-8E5C-11BE8E70F6DA}"/>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640F46C-B62E-4F77-AB96-6A61CCF2EDF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55F8986D-C88B-4A23-9196-9FFDCA78C125}"/>
              </a:ext>
            </a:extLst>
          </p:cNvPr>
          <p:cNvGrpSpPr/>
          <p:nvPr/>
        </p:nvGrpSpPr>
        <p:grpSpPr>
          <a:xfrm>
            <a:off x="1096381" y="4227467"/>
            <a:ext cx="558998" cy="75122"/>
            <a:chOff x="4822825" y="4360865"/>
            <a:chExt cx="745331" cy="100162"/>
          </a:xfrm>
        </p:grpSpPr>
        <p:cxnSp>
          <p:nvCxnSpPr>
            <p:cNvPr id="88" name="Straight Arrow Connector 87">
              <a:extLst>
                <a:ext uri="{FF2B5EF4-FFF2-40B4-BE49-F238E27FC236}">
                  <a16:creationId xmlns:a16="http://schemas.microsoft.com/office/drawing/2014/main" id="{8E53117B-D7A8-4ED8-B082-16F6D996E583}"/>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6A59F32B-2BA2-488F-AA71-9BE41E2BAF50}"/>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353373B-B0CC-4BC3-A23C-D89FE759FAA0}"/>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19FCAFC-2842-427E-81D0-249E61BCA680}"/>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00959837-2DF4-4D39-8A8B-A1197DC048C2}"/>
              </a:ext>
            </a:extLst>
          </p:cNvPr>
          <p:cNvGrpSpPr/>
          <p:nvPr/>
        </p:nvGrpSpPr>
        <p:grpSpPr>
          <a:xfrm>
            <a:off x="1729084" y="4049372"/>
            <a:ext cx="558998" cy="75122"/>
            <a:chOff x="4822825" y="4360865"/>
            <a:chExt cx="745331" cy="100162"/>
          </a:xfrm>
        </p:grpSpPr>
        <p:cxnSp>
          <p:nvCxnSpPr>
            <p:cNvPr id="93" name="Straight Arrow Connector 92">
              <a:extLst>
                <a:ext uri="{FF2B5EF4-FFF2-40B4-BE49-F238E27FC236}">
                  <a16:creationId xmlns:a16="http://schemas.microsoft.com/office/drawing/2014/main" id="{5898F972-B2A2-42E0-9AF1-4D9760711351}"/>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9BB780AE-C505-4225-8644-16D98C090B57}"/>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36BEF3B-23C6-4517-A260-6D4B3D0D6BA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2FA88176-F8F9-4D18-9C56-EDA47EED61DD}"/>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985049C8-BDEC-4DC1-BA53-C038BBC14D3B}"/>
              </a:ext>
            </a:extLst>
          </p:cNvPr>
          <p:cNvGrpSpPr/>
          <p:nvPr/>
        </p:nvGrpSpPr>
        <p:grpSpPr>
          <a:xfrm>
            <a:off x="2373877" y="4083718"/>
            <a:ext cx="558998" cy="75122"/>
            <a:chOff x="4822825" y="4360865"/>
            <a:chExt cx="745331" cy="100162"/>
          </a:xfrm>
        </p:grpSpPr>
        <p:cxnSp>
          <p:nvCxnSpPr>
            <p:cNvPr id="98" name="Straight Arrow Connector 97">
              <a:extLst>
                <a:ext uri="{FF2B5EF4-FFF2-40B4-BE49-F238E27FC236}">
                  <a16:creationId xmlns:a16="http://schemas.microsoft.com/office/drawing/2014/main" id="{2AC8C612-786A-4AF0-99FE-31CDC68A7214}"/>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6C42E9A-98F1-44D3-8B5A-5702857BB5A3}"/>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6D0C2A0-3E0B-42E0-9E21-60DC3012C16C}"/>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F0B4836-1F23-4198-954E-58E40DB3E565}"/>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44B2712D-FB6D-4F99-8313-1078A2611424}"/>
              </a:ext>
            </a:extLst>
          </p:cNvPr>
          <p:cNvGrpSpPr/>
          <p:nvPr/>
        </p:nvGrpSpPr>
        <p:grpSpPr>
          <a:xfrm>
            <a:off x="1774843" y="3723689"/>
            <a:ext cx="558998" cy="75122"/>
            <a:chOff x="4822825" y="4360865"/>
            <a:chExt cx="745331" cy="100162"/>
          </a:xfrm>
        </p:grpSpPr>
        <p:cxnSp>
          <p:nvCxnSpPr>
            <p:cNvPr id="103" name="Straight Arrow Connector 102">
              <a:extLst>
                <a:ext uri="{FF2B5EF4-FFF2-40B4-BE49-F238E27FC236}">
                  <a16:creationId xmlns:a16="http://schemas.microsoft.com/office/drawing/2014/main" id="{730AF135-5BDD-450D-B17C-766AA60D83BA}"/>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5F09386F-15DC-45C8-ADA9-C9D94762B5D9}"/>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5DD4A25-D288-4A33-B0D8-21454E522977}"/>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7743AF8-D821-4839-B3C6-848AE6F7CF28}"/>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9C4EA2A9-8984-4347-802C-41FD93AE3B28}"/>
              </a:ext>
            </a:extLst>
          </p:cNvPr>
          <p:cNvGrpSpPr/>
          <p:nvPr/>
        </p:nvGrpSpPr>
        <p:grpSpPr>
          <a:xfrm>
            <a:off x="1763297" y="3384317"/>
            <a:ext cx="558998" cy="75122"/>
            <a:chOff x="4822825" y="4360865"/>
            <a:chExt cx="745331" cy="100162"/>
          </a:xfrm>
        </p:grpSpPr>
        <p:cxnSp>
          <p:nvCxnSpPr>
            <p:cNvPr id="108" name="Straight Arrow Connector 107">
              <a:extLst>
                <a:ext uri="{FF2B5EF4-FFF2-40B4-BE49-F238E27FC236}">
                  <a16:creationId xmlns:a16="http://schemas.microsoft.com/office/drawing/2014/main" id="{E1FBD479-BF39-46C5-BC2D-E03A6C273745}"/>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E7BE9F9-D2F3-4734-AE23-D4261BB61256}"/>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8BC02C4-97D5-42C0-B7B2-69DF951DBBB3}"/>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3C8242A-90C6-4DF3-8D1C-A432FB01EE5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5B5EEDAB-57BA-4831-85D0-1C9E316A424D}"/>
              </a:ext>
            </a:extLst>
          </p:cNvPr>
          <p:cNvGrpSpPr/>
          <p:nvPr/>
        </p:nvGrpSpPr>
        <p:grpSpPr>
          <a:xfrm>
            <a:off x="1764169" y="3133552"/>
            <a:ext cx="558998" cy="75122"/>
            <a:chOff x="4822825" y="4360865"/>
            <a:chExt cx="745331" cy="100162"/>
          </a:xfrm>
        </p:grpSpPr>
        <p:cxnSp>
          <p:nvCxnSpPr>
            <p:cNvPr id="113" name="Straight Arrow Connector 112">
              <a:extLst>
                <a:ext uri="{FF2B5EF4-FFF2-40B4-BE49-F238E27FC236}">
                  <a16:creationId xmlns:a16="http://schemas.microsoft.com/office/drawing/2014/main" id="{66BF2C92-3402-401F-B517-21A7504D6FBC}"/>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B622DD68-8D53-4A9C-BFE1-6CC20CE7C6E8}"/>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41249E0-8753-49AC-9AAC-ADC86477A879}"/>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40BED79-3A96-4FCC-923D-D8D03E28A9B8}"/>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pic>
        <p:nvPicPr>
          <p:cNvPr id="1030" name="Picture 6" descr="Harness the Power of Aha! Moments to Help Your Team Learn |">
            <a:extLst>
              <a:ext uri="{FF2B5EF4-FFF2-40B4-BE49-F238E27FC236}">
                <a16:creationId xmlns:a16="http://schemas.microsoft.com/office/drawing/2014/main" id="{A9683ACE-C08E-4FCF-B9FB-5AF3710313D8}"/>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2819400" y="2044345"/>
            <a:ext cx="1376659" cy="1200513"/>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a:extLst>
              <a:ext uri="{FF2B5EF4-FFF2-40B4-BE49-F238E27FC236}">
                <a16:creationId xmlns:a16="http://schemas.microsoft.com/office/drawing/2014/main" id="{7DD0B49D-EA7E-4765-B7FD-24B967ABF624}"/>
              </a:ext>
            </a:extLst>
          </p:cNvPr>
          <p:cNvSpPr/>
          <p:nvPr/>
        </p:nvSpPr>
        <p:spPr>
          <a:xfrm>
            <a:off x="6170406" y="2502813"/>
            <a:ext cx="1742295" cy="1729934"/>
          </a:xfrm>
          <a:prstGeom prst="ellipse">
            <a:avLst/>
          </a:prstGeom>
          <a:solidFill>
            <a:srgbClr val="C00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5DE7379F-A996-40A0-BBBC-7AE829C28700}"/>
              </a:ext>
            </a:extLst>
          </p:cNvPr>
          <p:cNvSpPr/>
          <p:nvPr/>
        </p:nvSpPr>
        <p:spPr>
          <a:xfrm>
            <a:off x="1108215" y="2996043"/>
            <a:ext cx="1742295" cy="967991"/>
          </a:xfrm>
          <a:prstGeom prst="ellipse">
            <a:avLst/>
          </a:prstGeom>
          <a:solidFill>
            <a:srgbClr val="C00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A6FD7524-F947-4E71-8C0A-24B16EA406C2}"/>
              </a:ext>
            </a:extLst>
          </p:cNvPr>
          <p:cNvSpPr/>
          <p:nvPr/>
        </p:nvSpPr>
        <p:spPr>
          <a:xfrm>
            <a:off x="5053979" y="4762455"/>
            <a:ext cx="3739314" cy="1014317"/>
          </a:xfrm>
          <a:prstGeom prst="rect">
            <a:avLst/>
          </a:prstGeom>
        </p:spPr>
        <p:txBody>
          <a:bodyPr wrap="square">
            <a:spAutoFit/>
          </a:bodyPr>
          <a:lstStyle/>
          <a:p>
            <a:pPr marL="0" marR="0" lvl="0" indent="0" algn="l" defTabSz="685800" rtl="0" eaLnBrk="1" fontAlgn="auto" latinLnBrk="0" hangingPunct="1">
              <a:lnSpc>
                <a:spcPct val="150000"/>
              </a:lnSpc>
              <a:spcBef>
                <a:spcPts val="0"/>
              </a:spcBef>
              <a:spcAft>
                <a:spcPts val="0"/>
              </a:spcAft>
              <a:buClr>
                <a:prstClr val="black"/>
              </a:buClr>
              <a:buSzTx/>
              <a:buFontTx/>
              <a:buNone/>
              <a:tabLst/>
              <a:defRPr/>
            </a:pPr>
            <a:r>
              <a:rPr lang="en-US" sz="1200" b="1" kern="0" dirty="0">
                <a:solidFill>
                  <a:prstClr val="black"/>
                </a:solidFill>
                <a:latin typeface="Open Sans"/>
              </a:rPr>
              <a:t>Executing the Analytics Triangle effectively enables more rapid decisions and actions and positions for more rapid benefits realization.</a:t>
            </a:r>
            <a:endParaRPr kumimoji="0" lang="en-US" sz="1200" b="1" i="0" u="none" strike="noStrike" kern="0" cap="none" spc="0" normalizeH="0" baseline="0" noProof="0" dirty="0">
              <a:ln>
                <a:noFill/>
              </a:ln>
              <a:solidFill>
                <a:prstClr val="black"/>
              </a:solidFill>
              <a:effectLst/>
              <a:uLnTx/>
              <a:uFillTx/>
              <a:latin typeface="Open Sans"/>
              <a:ea typeface="+mn-ea"/>
              <a:cs typeface="+mn-cs"/>
            </a:endParaRPr>
          </a:p>
          <a:p>
            <a:pPr marL="0" marR="0" lvl="0" indent="0" algn="l" defTabSz="685800" rtl="0" eaLnBrk="1" fontAlgn="auto" latinLnBrk="0" hangingPunct="1">
              <a:lnSpc>
                <a:spcPct val="150000"/>
              </a:lnSpc>
              <a:spcBef>
                <a:spcPts val="0"/>
              </a:spcBef>
              <a:spcAft>
                <a:spcPts val="0"/>
              </a:spcAft>
              <a:buClr>
                <a:prstClr val="black"/>
              </a:buClr>
              <a:buSzTx/>
              <a:buFontTx/>
              <a:buNone/>
              <a:tabLst/>
              <a:defRPr/>
            </a:pPr>
            <a:endParaRPr kumimoji="0" lang="en-US" sz="450" b="1" i="0" u="none" strike="noStrike" kern="0" cap="none" spc="0" normalizeH="0" baseline="0" noProof="0" dirty="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1312695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par>
                                <p:cTn id="13" presetID="10" presetClass="entr" presetSubtype="0" fill="hold" nodeType="with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par>
                                <p:cTn id="16" presetID="10" presetClass="entr" presetSubtype="0" fill="hold"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4">
                                            <p:txEl>
                                              <p:pRg st="0" end="0"/>
                                            </p:txEl>
                                          </p:spTgt>
                                        </p:tgtEl>
                                        <p:attrNameLst>
                                          <p:attrName>style.visibility</p:attrName>
                                        </p:attrNameLst>
                                      </p:cBhvr>
                                      <p:to>
                                        <p:strVal val="visible"/>
                                      </p:to>
                                    </p:set>
                                    <p:animEffect transition="in" filter="fade">
                                      <p:cBhvr>
                                        <p:cTn id="28" dur="500"/>
                                        <p:tgtEl>
                                          <p:spTgt spid="24">
                                            <p:txEl>
                                              <p:pRg st="0" end="0"/>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77"/>
                                        </p:tgtEl>
                                        <p:attrNameLst>
                                          <p:attrName>style.visibility</p:attrName>
                                        </p:attrNameLst>
                                      </p:cBhvr>
                                      <p:to>
                                        <p:strVal val="visible"/>
                                      </p:to>
                                    </p:set>
                                    <p:animEffect transition="in" filter="fade">
                                      <p:cBhvr>
                                        <p:cTn id="33" dur="500"/>
                                        <p:tgtEl>
                                          <p:spTgt spid="77"/>
                                        </p:tgtEl>
                                      </p:cBhvr>
                                    </p:animEffect>
                                  </p:childTnLst>
                                </p:cTn>
                              </p:par>
                              <p:par>
                                <p:cTn id="34" presetID="10" presetClass="entr" presetSubtype="0" fill="hold" nodeType="withEffect">
                                  <p:stCondLst>
                                    <p:cond delay="0"/>
                                  </p:stCondLst>
                                  <p:childTnLst>
                                    <p:set>
                                      <p:cBhvr>
                                        <p:cTn id="35" dur="1" fill="hold">
                                          <p:stCondLst>
                                            <p:cond delay="0"/>
                                          </p:stCondLst>
                                        </p:cTn>
                                        <p:tgtEl>
                                          <p:spTgt spid="82"/>
                                        </p:tgtEl>
                                        <p:attrNameLst>
                                          <p:attrName>style.visibility</p:attrName>
                                        </p:attrNameLst>
                                      </p:cBhvr>
                                      <p:to>
                                        <p:strVal val="visible"/>
                                      </p:to>
                                    </p:set>
                                    <p:animEffect transition="in" filter="fade">
                                      <p:cBhvr>
                                        <p:cTn id="36" dur="500"/>
                                        <p:tgtEl>
                                          <p:spTgt spid="82"/>
                                        </p:tgtEl>
                                      </p:cBhvr>
                                    </p:animEffect>
                                  </p:childTnLst>
                                </p:cTn>
                              </p:par>
                              <p:par>
                                <p:cTn id="37" presetID="10" presetClass="entr" presetSubtype="0" fill="hold" nodeType="withEffect">
                                  <p:stCondLst>
                                    <p:cond delay="0"/>
                                  </p:stCondLst>
                                  <p:childTnLst>
                                    <p:set>
                                      <p:cBhvr>
                                        <p:cTn id="38" dur="1" fill="hold">
                                          <p:stCondLst>
                                            <p:cond delay="0"/>
                                          </p:stCondLst>
                                        </p:cTn>
                                        <p:tgtEl>
                                          <p:spTgt spid="87"/>
                                        </p:tgtEl>
                                        <p:attrNameLst>
                                          <p:attrName>style.visibility</p:attrName>
                                        </p:attrNameLst>
                                      </p:cBhvr>
                                      <p:to>
                                        <p:strVal val="visible"/>
                                      </p:to>
                                    </p:set>
                                    <p:animEffect transition="in" filter="fade">
                                      <p:cBhvr>
                                        <p:cTn id="39" dur="500"/>
                                        <p:tgtEl>
                                          <p:spTgt spid="87"/>
                                        </p:tgtEl>
                                      </p:cBhvr>
                                    </p:animEffect>
                                  </p:childTnLst>
                                </p:cTn>
                              </p:par>
                              <p:par>
                                <p:cTn id="40" presetID="10" presetClass="entr" presetSubtype="0" fill="hold" nodeType="withEffect">
                                  <p:stCondLst>
                                    <p:cond delay="0"/>
                                  </p:stCondLst>
                                  <p:childTnLst>
                                    <p:set>
                                      <p:cBhvr>
                                        <p:cTn id="41" dur="1" fill="hold">
                                          <p:stCondLst>
                                            <p:cond delay="0"/>
                                          </p:stCondLst>
                                        </p:cTn>
                                        <p:tgtEl>
                                          <p:spTgt spid="92"/>
                                        </p:tgtEl>
                                        <p:attrNameLst>
                                          <p:attrName>style.visibility</p:attrName>
                                        </p:attrNameLst>
                                      </p:cBhvr>
                                      <p:to>
                                        <p:strVal val="visible"/>
                                      </p:to>
                                    </p:set>
                                    <p:animEffect transition="in" filter="fade">
                                      <p:cBhvr>
                                        <p:cTn id="42" dur="500"/>
                                        <p:tgtEl>
                                          <p:spTgt spid="92"/>
                                        </p:tgtEl>
                                      </p:cBhvr>
                                    </p:animEffect>
                                  </p:childTnLst>
                                </p:cTn>
                              </p:par>
                              <p:par>
                                <p:cTn id="43" presetID="10" presetClass="entr" presetSubtype="0" fill="hold" nodeType="withEffect">
                                  <p:stCondLst>
                                    <p:cond delay="0"/>
                                  </p:stCondLst>
                                  <p:childTnLst>
                                    <p:set>
                                      <p:cBhvr>
                                        <p:cTn id="44" dur="1" fill="hold">
                                          <p:stCondLst>
                                            <p:cond delay="0"/>
                                          </p:stCondLst>
                                        </p:cTn>
                                        <p:tgtEl>
                                          <p:spTgt spid="97"/>
                                        </p:tgtEl>
                                        <p:attrNameLst>
                                          <p:attrName>style.visibility</p:attrName>
                                        </p:attrNameLst>
                                      </p:cBhvr>
                                      <p:to>
                                        <p:strVal val="visible"/>
                                      </p:to>
                                    </p:set>
                                    <p:animEffect transition="in" filter="fade">
                                      <p:cBhvr>
                                        <p:cTn id="45" dur="500"/>
                                        <p:tgtEl>
                                          <p:spTgt spid="97"/>
                                        </p:tgtEl>
                                      </p:cBhvr>
                                    </p:animEffect>
                                  </p:childTnLst>
                                </p:cTn>
                              </p:par>
                              <p:par>
                                <p:cTn id="46" presetID="10" presetClass="entr" presetSubtype="0" fill="hold" nodeType="withEffect">
                                  <p:stCondLst>
                                    <p:cond delay="0"/>
                                  </p:stCondLst>
                                  <p:childTnLst>
                                    <p:set>
                                      <p:cBhvr>
                                        <p:cTn id="47" dur="1" fill="hold">
                                          <p:stCondLst>
                                            <p:cond delay="0"/>
                                          </p:stCondLst>
                                        </p:cTn>
                                        <p:tgtEl>
                                          <p:spTgt spid="102"/>
                                        </p:tgtEl>
                                        <p:attrNameLst>
                                          <p:attrName>style.visibility</p:attrName>
                                        </p:attrNameLst>
                                      </p:cBhvr>
                                      <p:to>
                                        <p:strVal val="visible"/>
                                      </p:to>
                                    </p:set>
                                    <p:animEffect transition="in" filter="fade">
                                      <p:cBhvr>
                                        <p:cTn id="48" dur="500"/>
                                        <p:tgtEl>
                                          <p:spTgt spid="102"/>
                                        </p:tgtEl>
                                      </p:cBhvr>
                                    </p:animEffect>
                                  </p:childTnLst>
                                </p:cTn>
                              </p:par>
                              <p:par>
                                <p:cTn id="49" presetID="10" presetClass="entr" presetSubtype="0" fill="hold" nodeType="withEffect">
                                  <p:stCondLst>
                                    <p:cond delay="0"/>
                                  </p:stCondLst>
                                  <p:childTnLst>
                                    <p:set>
                                      <p:cBhvr>
                                        <p:cTn id="50" dur="1" fill="hold">
                                          <p:stCondLst>
                                            <p:cond delay="0"/>
                                          </p:stCondLst>
                                        </p:cTn>
                                        <p:tgtEl>
                                          <p:spTgt spid="107"/>
                                        </p:tgtEl>
                                        <p:attrNameLst>
                                          <p:attrName>style.visibility</p:attrName>
                                        </p:attrNameLst>
                                      </p:cBhvr>
                                      <p:to>
                                        <p:strVal val="visible"/>
                                      </p:to>
                                    </p:set>
                                    <p:animEffect transition="in" filter="fade">
                                      <p:cBhvr>
                                        <p:cTn id="51" dur="500"/>
                                        <p:tgtEl>
                                          <p:spTgt spid="107"/>
                                        </p:tgtEl>
                                      </p:cBhvr>
                                    </p:animEffect>
                                  </p:childTnLst>
                                </p:cTn>
                              </p:par>
                              <p:par>
                                <p:cTn id="52" presetID="10" presetClass="entr" presetSubtype="0" fill="hold" nodeType="withEffect">
                                  <p:stCondLst>
                                    <p:cond delay="0"/>
                                  </p:stCondLst>
                                  <p:childTnLst>
                                    <p:set>
                                      <p:cBhvr>
                                        <p:cTn id="53" dur="1" fill="hold">
                                          <p:stCondLst>
                                            <p:cond delay="0"/>
                                          </p:stCondLst>
                                        </p:cTn>
                                        <p:tgtEl>
                                          <p:spTgt spid="112"/>
                                        </p:tgtEl>
                                        <p:attrNameLst>
                                          <p:attrName>style.visibility</p:attrName>
                                        </p:attrNameLst>
                                      </p:cBhvr>
                                      <p:to>
                                        <p:strVal val="visible"/>
                                      </p:to>
                                    </p:set>
                                    <p:animEffect transition="in" filter="fade">
                                      <p:cBhvr>
                                        <p:cTn id="54" dur="500"/>
                                        <p:tgtEl>
                                          <p:spTgt spid="112"/>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1030"/>
                                        </p:tgtEl>
                                        <p:attrNameLst>
                                          <p:attrName>style.visibility</p:attrName>
                                        </p:attrNameLst>
                                      </p:cBhvr>
                                      <p:to>
                                        <p:strVal val="visible"/>
                                      </p:to>
                                    </p:set>
                                    <p:animEffect transition="in" filter="fade">
                                      <p:cBhvr>
                                        <p:cTn id="59" dur="500"/>
                                        <p:tgtEl>
                                          <p:spTgt spid="103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71">
                                            <p:txEl>
                                              <p:pRg st="0" end="0"/>
                                            </p:txEl>
                                          </p:spTgt>
                                        </p:tgtEl>
                                        <p:attrNameLst>
                                          <p:attrName>style.visibility</p:attrName>
                                        </p:attrNameLst>
                                      </p:cBhvr>
                                      <p:to>
                                        <p:strVal val="visible"/>
                                      </p:to>
                                    </p:set>
                                    <p:animEffect transition="in" filter="fade">
                                      <p:cBhvr>
                                        <p:cTn id="64" dur="500"/>
                                        <p:tgtEl>
                                          <p:spTgt spid="7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C5E07-DB5B-55F2-6F01-6B61AC3D8F04}"/>
              </a:ext>
            </a:extLst>
          </p:cNvPr>
          <p:cNvSpPr>
            <a:spLocks noGrp="1"/>
          </p:cNvSpPr>
          <p:nvPr>
            <p:ph type="title"/>
          </p:nvPr>
        </p:nvSpPr>
        <p:spPr/>
        <p:txBody>
          <a:bodyPr/>
          <a:lstStyle/>
          <a:p>
            <a:r>
              <a:rPr lang="en-US" dirty="0"/>
              <a:t>Logic for the OA Foundations</a:t>
            </a:r>
          </a:p>
        </p:txBody>
      </p:sp>
      <p:sp>
        <p:nvSpPr>
          <p:cNvPr id="3" name="Content Placeholder 2">
            <a:extLst>
              <a:ext uri="{FF2B5EF4-FFF2-40B4-BE49-F238E27FC236}">
                <a16:creationId xmlns:a16="http://schemas.microsoft.com/office/drawing/2014/main" id="{D52268DB-61E4-27E1-5D29-0E7DE9B5711D}"/>
              </a:ext>
            </a:extLst>
          </p:cNvPr>
          <p:cNvSpPr>
            <a:spLocks noGrp="1"/>
          </p:cNvSpPr>
          <p:nvPr>
            <p:ph idx="1"/>
          </p:nvPr>
        </p:nvSpPr>
        <p:spPr>
          <a:xfrm>
            <a:off x="457200" y="1143000"/>
            <a:ext cx="8229600" cy="5181600"/>
          </a:xfrm>
        </p:spPr>
        <p:txBody>
          <a:bodyPr/>
          <a:lstStyle/>
          <a:p>
            <a:pPr marL="0" indent="0">
              <a:buNone/>
            </a:pPr>
            <a:r>
              <a:rPr lang="en-US" b="1" dirty="0"/>
              <a:t>OA 101:  Foundations for Building Performance Measurement, Evaluation, Improvement Systems  </a:t>
            </a:r>
          </a:p>
          <a:p>
            <a:pPr lvl="1"/>
            <a:endParaRPr lang="en-US" b="1" dirty="0"/>
          </a:p>
          <a:p>
            <a:pPr lvl="1"/>
            <a:r>
              <a:rPr lang="en-US" dirty="0"/>
              <a:t>Systems Thinking and Process Breakdown Structure</a:t>
            </a:r>
          </a:p>
          <a:p>
            <a:pPr lvl="1"/>
            <a:endParaRPr lang="en-US" dirty="0"/>
          </a:p>
          <a:p>
            <a:pPr lvl="1"/>
            <a:r>
              <a:rPr lang="en-US" dirty="0"/>
              <a:t>The ‘Management Systems Model’ (Management Systems Engineering)</a:t>
            </a:r>
          </a:p>
          <a:p>
            <a:pPr lvl="2"/>
            <a:r>
              <a:rPr lang="en-US" dirty="0"/>
              <a:t>Management Systems Analysis (Value Streams and Control Points)</a:t>
            </a:r>
          </a:p>
          <a:p>
            <a:pPr lvl="2"/>
            <a:r>
              <a:rPr lang="en-US" dirty="0"/>
              <a:t>Users and Use Cases</a:t>
            </a:r>
          </a:p>
          <a:p>
            <a:pPr lvl="2"/>
            <a:r>
              <a:rPr lang="en-US" dirty="0"/>
              <a:t>Decision-Action (Study/Adjust) Requirements</a:t>
            </a:r>
          </a:p>
          <a:p>
            <a:pPr lvl="2"/>
            <a:r>
              <a:rPr lang="en-US" dirty="0"/>
              <a:t>Information Requirements &amp; Portrayal, Perception, Insights to Actions</a:t>
            </a:r>
          </a:p>
          <a:p>
            <a:pPr lvl="2"/>
            <a:r>
              <a:rPr lang="en-US" dirty="0"/>
              <a:t>Data Requirements</a:t>
            </a:r>
          </a:p>
          <a:p>
            <a:pPr lvl="2"/>
            <a:r>
              <a:rPr lang="en-US" dirty="0"/>
              <a:t>Data Management Requirements</a:t>
            </a:r>
          </a:p>
          <a:p>
            <a:pPr lvl="2"/>
            <a:r>
              <a:rPr lang="en-US" dirty="0"/>
              <a:t>Data Analytics Requirements</a:t>
            </a:r>
          </a:p>
          <a:p>
            <a:pPr lvl="2"/>
            <a:r>
              <a:rPr lang="en-US" dirty="0"/>
              <a:t>Visualization Requirements</a:t>
            </a:r>
          </a:p>
          <a:p>
            <a:pPr lvl="2"/>
            <a:endParaRPr lang="en-US" dirty="0"/>
          </a:p>
          <a:p>
            <a:pPr lvl="1"/>
            <a:r>
              <a:rPr lang="en-US" dirty="0"/>
              <a:t>Getting all the System Components in Place to ensure ‘End Game’ Achieved</a:t>
            </a:r>
          </a:p>
          <a:p>
            <a:pPr marL="446087" lvl="1" indent="0">
              <a:buNone/>
            </a:pPr>
            <a:endParaRPr lang="en-US" dirty="0"/>
          </a:p>
          <a:p>
            <a:pPr marL="858837" lvl="2" indent="0">
              <a:buNone/>
            </a:pPr>
            <a:endParaRPr lang="en-US" dirty="0"/>
          </a:p>
          <a:p>
            <a:endParaRPr lang="en-US" b="1" dirty="0"/>
          </a:p>
          <a:p>
            <a:pPr marL="0" indent="0">
              <a:buNone/>
            </a:pPr>
            <a:endParaRPr lang="en-US" b="1" dirty="0"/>
          </a:p>
          <a:p>
            <a:endParaRPr lang="en-US" b="1" dirty="0"/>
          </a:p>
        </p:txBody>
      </p:sp>
    </p:spTree>
    <p:extLst>
      <p:ext uri="{BB962C8B-B14F-4D97-AF65-F5344CB8AC3E}">
        <p14:creationId xmlns:p14="http://schemas.microsoft.com/office/powerpoint/2010/main" val="102596619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172E6-EB4D-4CA9-B032-D89C0DD951AC}"/>
              </a:ext>
            </a:extLst>
          </p:cNvPr>
          <p:cNvSpPr>
            <a:spLocks noGrp="1"/>
          </p:cNvSpPr>
          <p:nvPr>
            <p:ph type="title"/>
          </p:nvPr>
        </p:nvSpPr>
        <p:spPr>
          <a:xfrm>
            <a:off x="281701" y="817937"/>
            <a:ext cx="8264129" cy="600920"/>
          </a:xfrm>
        </p:spPr>
        <p:txBody>
          <a:bodyPr>
            <a:noAutofit/>
          </a:bodyPr>
          <a:lstStyle/>
          <a:p>
            <a:r>
              <a:rPr lang="en-US" sz="2100" dirty="0"/>
              <a:t>Operational Analytics, done right, minimizes latencies and enhances ability to drive more rapid benefits realization</a:t>
            </a:r>
            <a:endParaRPr lang="en-CA" sz="2100" dirty="0"/>
          </a:p>
        </p:txBody>
      </p:sp>
      <p:sp>
        <p:nvSpPr>
          <p:cNvPr id="4" name="Slide Number Placeholder 3">
            <a:extLst>
              <a:ext uri="{FF2B5EF4-FFF2-40B4-BE49-F238E27FC236}">
                <a16:creationId xmlns:a16="http://schemas.microsoft.com/office/drawing/2014/main" id="{98681A5D-5099-4F5A-B20A-B41465BD82BD}"/>
              </a:ext>
            </a:extLst>
          </p:cNvPr>
          <p:cNvSpPr>
            <a:spLocks noGrp="1"/>
          </p:cNvSpPr>
          <p:nvPr>
            <p:ph type="sldNum" sz="quarter" idx="12"/>
          </p:nvPr>
        </p:nvSpPr>
        <p:spPr>
          <a:xfrm>
            <a:off x="6148067" y="2868473"/>
            <a:ext cx="2057400" cy="365125"/>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02F7A02-EF0D-4D82-9BFD-3DDF074AABBD}" type="slidenum">
              <a:rPr kumimoji="0" lang="en-CA" sz="900" b="0" i="0" u="none" strike="noStrike" kern="1200" cap="none" spc="0" normalizeH="0" baseline="0" noProof="0" smtClean="0">
                <a:ln>
                  <a:noFill/>
                </a:ln>
                <a:solidFill>
                  <a:prstClr val="black">
                    <a:tint val="75000"/>
                  </a:prstClr>
                </a:solidFill>
                <a:effectLst/>
                <a:uLnTx/>
                <a:uFillTx/>
                <a:latin typeface="Open Sans"/>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1</a:t>
            </a:fld>
            <a:endParaRPr kumimoji="0" lang="en-CA" sz="900" b="0" i="0" u="none" strike="noStrike" kern="1200" cap="none" spc="0" normalizeH="0" baseline="0" noProof="0" dirty="0">
              <a:ln>
                <a:noFill/>
              </a:ln>
              <a:solidFill>
                <a:prstClr val="black">
                  <a:tint val="75000"/>
                </a:prstClr>
              </a:solidFill>
              <a:effectLst/>
              <a:uLnTx/>
              <a:uFillTx/>
              <a:latin typeface="Open Sans"/>
              <a:ea typeface="+mn-ea"/>
              <a:cs typeface="+mn-cs"/>
            </a:endParaRPr>
          </a:p>
        </p:txBody>
      </p:sp>
      <p:pic>
        <p:nvPicPr>
          <p:cNvPr id="13" name="Picture 12">
            <a:extLst>
              <a:ext uri="{FF2B5EF4-FFF2-40B4-BE49-F238E27FC236}">
                <a16:creationId xmlns:a16="http://schemas.microsoft.com/office/drawing/2014/main" id="{2D6B5E61-311A-4087-969B-D1CED99EABA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88169" y="6292574"/>
            <a:ext cx="2483698" cy="164665"/>
          </a:xfrm>
          <a:prstGeom prst="rect">
            <a:avLst/>
          </a:prstGeom>
        </p:spPr>
      </p:pic>
      <p:pic>
        <p:nvPicPr>
          <p:cNvPr id="19" name="Picture 2" descr="http://community.qlikview.com/servlet/JiveServlet/showImage/38-2354-7987/Analysis%2BLatency.PNG">
            <a:extLst>
              <a:ext uri="{FF2B5EF4-FFF2-40B4-BE49-F238E27FC236}">
                <a16:creationId xmlns:a16="http://schemas.microsoft.com/office/drawing/2014/main" id="{C722F620-7C0D-4868-B175-317B4B45599F}"/>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512491" y="1959112"/>
            <a:ext cx="7033339" cy="4134464"/>
          </a:xfrm>
          <a:prstGeom prst="rect">
            <a:avLst/>
          </a:prstGeom>
          <a:noFill/>
        </p:spPr>
      </p:pic>
      <p:grpSp>
        <p:nvGrpSpPr>
          <p:cNvPr id="30" name="Group 29">
            <a:extLst>
              <a:ext uri="{FF2B5EF4-FFF2-40B4-BE49-F238E27FC236}">
                <a16:creationId xmlns:a16="http://schemas.microsoft.com/office/drawing/2014/main" id="{B47C8FCA-9581-44A5-8180-C56A6150303A}"/>
              </a:ext>
            </a:extLst>
          </p:cNvPr>
          <p:cNvGrpSpPr/>
          <p:nvPr/>
        </p:nvGrpSpPr>
        <p:grpSpPr>
          <a:xfrm>
            <a:off x="5054162" y="3780593"/>
            <a:ext cx="558998" cy="75122"/>
            <a:chOff x="4822825" y="4360865"/>
            <a:chExt cx="745331" cy="100162"/>
          </a:xfrm>
        </p:grpSpPr>
        <p:cxnSp>
          <p:nvCxnSpPr>
            <p:cNvPr id="10" name="Straight Arrow Connector 9">
              <a:extLst>
                <a:ext uri="{FF2B5EF4-FFF2-40B4-BE49-F238E27FC236}">
                  <a16:creationId xmlns:a16="http://schemas.microsoft.com/office/drawing/2014/main" id="{1F975C84-AE78-4A8D-A399-7B8C7CD5E811}"/>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2A1C2F6-31E0-4129-A39B-6ECECC50042B}"/>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CC46EBB-4A9E-4837-8519-0B7E6B9EA0A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90FEFAE-156D-4B3D-9BB9-35BB01ACAEF9}"/>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E17D31DB-9B82-499E-BC20-D0F9A2B0C090}"/>
              </a:ext>
            </a:extLst>
          </p:cNvPr>
          <p:cNvGrpSpPr/>
          <p:nvPr/>
        </p:nvGrpSpPr>
        <p:grpSpPr>
          <a:xfrm>
            <a:off x="3899102" y="3233598"/>
            <a:ext cx="558998" cy="75122"/>
            <a:chOff x="4822825" y="4360865"/>
            <a:chExt cx="745331" cy="100162"/>
          </a:xfrm>
        </p:grpSpPr>
        <p:cxnSp>
          <p:nvCxnSpPr>
            <p:cNvPr id="35" name="Straight Arrow Connector 34">
              <a:extLst>
                <a:ext uri="{FF2B5EF4-FFF2-40B4-BE49-F238E27FC236}">
                  <a16:creationId xmlns:a16="http://schemas.microsoft.com/office/drawing/2014/main" id="{2C84C461-8533-4BF7-89D9-6898BC100DA6}"/>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33C6543-59EF-477C-A5AA-89B3A115B060}"/>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CE3D64-31C3-4896-B649-92D26DDA581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8113144-02A4-4914-89D1-1BC1EF75AD02}"/>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B0A4039F-5828-4F1A-B40F-0E7CC707A23B}"/>
              </a:ext>
            </a:extLst>
          </p:cNvPr>
          <p:cNvGrpSpPr/>
          <p:nvPr/>
        </p:nvGrpSpPr>
        <p:grpSpPr>
          <a:xfrm>
            <a:off x="2895600" y="2770347"/>
            <a:ext cx="558998" cy="75122"/>
            <a:chOff x="4822825" y="4360865"/>
            <a:chExt cx="745331" cy="100162"/>
          </a:xfrm>
        </p:grpSpPr>
        <p:cxnSp>
          <p:nvCxnSpPr>
            <p:cNvPr id="40" name="Straight Arrow Connector 39">
              <a:extLst>
                <a:ext uri="{FF2B5EF4-FFF2-40B4-BE49-F238E27FC236}">
                  <a16:creationId xmlns:a16="http://schemas.microsoft.com/office/drawing/2014/main" id="{01A41798-C05A-40CF-80FD-6162805EC8CE}"/>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C7903AA-D918-49D9-9FA2-5230604377EF}"/>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278B70A-799F-4456-ACC0-8A2390F820D4}"/>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8C23C8D-D101-4181-BE4C-29C491849824}"/>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5" name="Oval 4">
            <a:extLst>
              <a:ext uri="{FF2B5EF4-FFF2-40B4-BE49-F238E27FC236}">
                <a16:creationId xmlns:a16="http://schemas.microsoft.com/office/drawing/2014/main" id="{7DD0B49D-EA7E-4765-B7FD-24B967ABF624}"/>
              </a:ext>
            </a:extLst>
          </p:cNvPr>
          <p:cNvSpPr/>
          <p:nvPr/>
        </p:nvSpPr>
        <p:spPr>
          <a:xfrm rot="2040131">
            <a:off x="3107449" y="3116446"/>
            <a:ext cx="3578153" cy="1121874"/>
          </a:xfrm>
          <a:prstGeom prst="ellipse">
            <a:avLst/>
          </a:prstGeom>
          <a:solidFill>
            <a:srgbClr val="C00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D7D68842-3D01-CD2E-D913-DE9FEC4F7762}"/>
              </a:ext>
            </a:extLst>
          </p:cNvPr>
          <p:cNvGrpSpPr/>
          <p:nvPr/>
        </p:nvGrpSpPr>
        <p:grpSpPr>
          <a:xfrm>
            <a:off x="6400800" y="4470972"/>
            <a:ext cx="558998" cy="75122"/>
            <a:chOff x="4822825" y="4360865"/>
            <a:chExt cx="745331" cy="100162"/>
          </a:xfrm>
        </p:grpSpPr>
        <p:cxnSp>
          <p:nvCxnSpPr>
            <p:cNvPr id="7" name="Straight Arrow Connector 6">
              <a:extLst>
                <a:ext uri="{FF2B5EF4-FFF2-40B4-BE49-F238E27FC236}">
                  <a16:creationId xmlns:a16="http://schemas.microsoft.com/office/drawing/2014/main" id="{EC609BC6-8D8E-0464-17C2-55DF16E2D35A}"/>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73BB92D1-F14D-A0DA-68D7-1CDE0C5AB30A}"/>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941F0FE-ACD5-3F66-5A83-E3FE3DBA1367}"/>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493491B-211F-2FE2-7EBE-3C3537BE0DD5}"/>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DDEA6D96-35B6-2368-EFF2-177934050EC1}"/>
              </a:ext>
            </a:extLst>
          </p:cNvPr>
          <p:cNvSpPr txBox="1"/>
          <p:nvPr/>
        </p:nvSpPr>
        <p:spPr>
          <a:xfrm>
            <a:off x="7690581" y="4499962"/>
            <a:ext cx="1029772" cy="492443"/>
          </a:xfrm>
          <a:prstGeom prst="rect">
            <a:avLst/>
          </a:prstGeom>
          <a:noFill/>
        </p:spPr>
        <p:txBody>
          <a:bodyPr wrap="square" rtlCol="0">
            <a:spAutoFit/>
          </a:bodyPr>
          <a:lstStyle/>
          <a:p>
            <a:r>
              <a:rPr lang="en-US" b="1" dirty="0"/>
              <a:t>Benefits Realized</a:t>
            </a:r>
          </a:p>
        </p:txBody>
      </p:sp>
      <p:grpSp>
        <p:nvGrpSpPr>
          <p:cNvPr id="14" name="Group 13">
            <a:extLst>
              <a:ext uri="{FF2B5EF4-FFF2-40B4-BE49-F238E27FC236}">
                <a16:creationId xmlns:a16="http://schemas.microsoft.com/office/drawing/2014/main" id="{95B6885A-23D1-9870-A29E-4E8C2953686A}"/>
              </a:ext>
            </a:extLst>
          </p:cNvPr>
          <p:cNvGrpSpPr/>
          <p:nvPr/>
        </p:nvGrpSpPr>
        <p:grpSpPr>
          <a:xfrm>
            <a:off x="7794595" y="5105400"/>
            <a:ext cx="558998" cy="75122"/>
            <a:chOff x="4822825" y="4360865"/>
            <a:chExt cx="745331" cy="100162"/>
          </a:xfrm>
        </p:grpSpPr>
        <p:cxnSp>
          <p:nvCxnSpPr>
            <p:cNvPr id="15" name="Straight Arrow Connector 14">
              <a:extLst>
                <a:ext uri="{FF2B5EF4-FFF2-40B4-BE49-F238E27FC236}">
                  <a16:creationId xmlns:a16="http://schemas.microsoft.com/office/drawing/2014/main" id="{E686B793-C6DA-7C3B-B122-9A59F677E552}"/>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D861903-DF8D-E631-5CBC-E734D55EA688}"/>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35A3B2F-55AD-4D72-BC05-2B712D4F7C3D}"/>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7820D9A-9541-3A35-D76D-9988AE42D963}"/>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7" name="Arrow: Left 26">
            <a:extLst>
              <a:ext uri="{FF2B5EF4-FFF2-40B4-BE49-F238E27FC236}">
                <a16:creationId xmlns:a16="http://schemas.microsoft.com/office/drawing/2014/main" id="{217DBF53-5033-20B2-5971-0EC8794B5797}"/>
              </a:ext>
            </a:extLst>
          </p:cNvPr>
          <p:cNvSpPr/>
          <p:nvPr/>
        </p:nvSpPr>
        <p:spPr>
          <a:xfrm>
            <a:off x="6701327" y="5605758"/>
            <a:ext cx="1652266" cy="769148"/>
          </a:xfrm>
          <a:prstGeom prst="leftArrow">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apture ROI faster</a:t>
            </a:r>
          </a:p>
        </p:txBody>
      </p:sp>
    </p:spTree>
    <p:extLst>
      <p:ext uri="{BB962C8B-B14F-4D97-AF65-F5344CB8AC3E}">
        <p14:creationId xmlns:p14="http://schemas.microsoft.com/office/powerpoint/2010/main" val="1359187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par>
                                <p:cTn id="13" presetID="10" presetClass="entr" presetSubtype="0" fill="hold" nodeType="with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par>
                                <p:cTn id="16" presetID="10" presetClass="entr" presetSubtype="0" fill="hold" nodeType="with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par>
                                <p:cTn id="19" presetID="10"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8CB3C-56B8-4C44-9434-116CC669CEF2}"/>
              </a:ext>
            </a:extLst>
          </p:cNvPr>
          <p:cNvSpPr>
            <a:spLocks noGrp="1"/>
          </p:cNvSpPr>
          <p:nvPr>
            <p:ph type="title"/>
          </p:nvPr>
        </p:nvSpPr>
        <p:spPr>
          <a:xfrm>
            <a:off x="385804" y="243025"/>
            <a:ext cx="8778324" cy="994172"/>
          </a:xfrm>
        </p:spPr>
        <p:txBody>
          <a:bodyPr/>
          <a:lstStyle/>
          <a:p>
            <a:r>
              <a:rPr lang="en-US" dirty="0"/>
              <a:t>No Time for Muddle….it’s a time for “Triple-Loop Learning”</a:t>
            </a:r>
          </a:p>
        </p:txBody>
      </p:sp>
      <p:sp>
        <p:nvSpPr>
          <p:cNvPr id="3" name="Slide Number Placeholder 2">
            <a:extLst>
              <a:ext uri="{FF2B5EF4-FFF2-40B4-BE49-F238E27FC236}">
                <a16:creationId xmlns:a16="http://schemas.microsoft.com/office/drawing/2014/main" id="{E8B820D6-B3CE-4C3F-B993-28DB962E05B2}"/>
              </a:ext>
            </a:extLst>
          </p:cNvPr>
          <p:cNvSpPr>
            <a:spLocks noGrp="1"/>
          </p:cNvSpPr>
          <p:nvPr>
            <p:ph type="sldNum" sz="quarter" idx="12"/>
          </p:nvPr>
        </p:nvSpPr>
        <p:spPr/>
        <p:txBody>
          <a:bodyPr/>
          <a:lstStyle/>
          <a:p>
            <a:fld id="{213A7331-637B-44D7-8FE2-4CD2C8675A13}" type="slidenum">
              <a:rPr lang="en-CA" smtClean="0"/>
              <a:t>72</a:t>
            </a:fld>
            <a:endParaRPr lang="en-CA"/>
          </a:p>
        </p:txBody>
      </p:sp>
      <p:pic>
        <p:nvPicPr>
          <p:cNvPr id="9" name="Picture 8" descr="A picture containing black&#10;&#10;Description automatically generated">
            <a:extLst>
              <a:ext uri="{FF2B5EF4-FFF2-40B4-BE49-F238E27FC236}">
                <a16:creationId xmlns:a16="http://schemas.microsoft.com/office/drawing/2014/main" id="{3939DB02-E441-41F0-B686-BA6E94C729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804" y="1237197"/>
            <a:ext cx="4123051" cy="2306332"/>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B1882F7E-0583-4D06-8BE6-A81ABEAD03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0" y="2568166"/>
            <a:ext cx="4572000" cy="3432584"/>
          </a:xfrm>
          <a:prstGeom prst="rect">
            <a:avLst/>
          </a:prstGeom>
        </p:spPr>
      </p:pic>
      <p:pic>
        <p:nvPicPr>
          <p:cNvPr id="8" name="Graphic 7" descr="Back RTL">
            <a:extLst>
              <a:ext uri="{FF2B5EF4-FFF2-40B4-BE49-F238E27FC236}">
                <a16:creationId xmlns:a16="http://schemas.microsoft.com/office/drawing/2014/main" id="{C15D6B9B-2BC6-4566-B9E1-0097A4397C7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163446" flipV="1">
            <a:off x="3241650" y="3689338"/>
            <a:ext cx="1190240" cy="1190240"/>
          </a:xfrm>
          <a:prstGeom prst="rect">
            <a:avLst/>
          </a:prstGeom>
        </p:spPr>
      </p:pic>
    </p:spTree>
    <p:extLst>
      <p:ext uri="{BB962C8B-B14F-4D97-AF65-F5344CB8AC3E}">
        <p14:creationId xmlns:p14="http://schemas.microsoft.com/office/powerpoint/2010/main" val="25706953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C5E07-DB5B-55F2-6F01-6B61AC3D8F04}"/>
              </a:ext>
            </a:extLst>
          </p:cNvPr>
          <p:cNvSpPr>
            <a:spLocks noGrp="1"/>
          </p:cNvSpPr>
          <p:nvPr>
            <p:ph type="title"/>
          </p:nvPr>
        </p:nvSpPr>
        <p:spPr>
          <a:xfrm>
            <a:off x="304800" y="76200"/>
            <a:ext cx="6477000" cy="685800"/>
          </a:xfrm>
        </p:spPr>
        <p:txBody>
          <a:bodyPr/>
          <a:lstStyle/>
          <a:p>
            <a:r>
              <a:rPr lang="en-US" dirty="0"/>
              <a:t>Logic for the Mini-Series and the Certification Program</a:t>
            </a:r>
          </a:p>
        </p:txBody>
      </p:sp>
      <p:sp>
        <p:nvSpPr>
          <p:cNvPr id="3" name="Content Placeholder 2">
            <a:extLst>
              <a:ext uri="{FF2B5EF4-FFF2-40B4-BE49-F238E27FC236}">
                <a16:creationId xmlns:a16="http://schemas.microsoft.com/office/drawing/2014/main" id="{D52268DB-61E4-27E1-5D29-0E7DE9B5711D}"/>
              </a:ext>
            </a:extLst>
          </p:cNvPr>
          <p:cNvSpPr>
            <a:spLocks noGrp="1"/>
          </p:cNvSpPr>
          <p:nvPr>
            <p:ph idx="1"/>
          </p:nvPr>
        </p:nvSpPr>
        <p:spPr>
          <a:xfrm>
            <a:off x="304800" y="990600"/>
            <a:ext cx="8534400" cy="5181600"/>
          </a:xfrm>
        </p:spPr>
        <p:txBody>
          <a:bodyPr/>
          <a:lstStyle/>
          <a:p>
            <a:pPr marL="0" indent="0">
              <a:buNone/>
            </a:pPr>
            <a:r>
              <a:rPr lang="en-US" b="1" dirty="0"/>
              <a:t>OA 101:  DEFINE--Foundations for Building Performance Measurement, Evaluation, Improvement Systems  </a:t>
            </a:r>
          </a:p>
          <a:p>
            <a:pPr lvl="1"/>
            <a:endParaRPr lang="en-US" b="1" dirty="0"/>
          </a:p>
          <a:p>
            <a:pPr lvl="1"/>
            <a:r>
              <a:rPr lang="en-US" dirty="0"/>
              <a:t>Systems Thinking and Process Breakdown Structure</a:t>
            </a:r>
          </a:p>
          <a:p>
            <a:pPr lvl="1"/>
            <a:r>
              <a:rPr lang="en-US" dirty="0"/>
              <a:t>The ‘Management Systems Model’ (Management Systems Engineering)</a:t>
            </a:r>
          </a:p>
          <a:p>
            <a:pPr lvl="1"/>
            <a:endParaRPr lang="en-US" dirty="0"/>
          </a:p>
          <a:p>
            <a:pPr marL="0" indent="0">
              <a:buNone/>
            </a:pPr>
            <a:r>
              <a:rPr lang="en-US" b="1" dirty="0"/>
              <a:t>OA 201:  CONCEPT DESIGN--</a:t>
            </a:r>
          </a:p>
          <a:p>
            <a:pPr lvl="2"/>
            <a:endParaRPr lang="en-US" dirty="0"/>
          </a:p>
          <a:p>
            <a:pPr lvl="1"/>
            <a:r>
              <a:rPr lang="en-US" dirty="0"/>
              <a:t>The ‘Operational Analytics’ ‘Triangle’ Model</a:t>
            </a:r>
          </a:p>
          <a:p>
            <a:pPr lvl="1"/>
            <a:r>
              <a:rPr lang="en-US" dirty="0"/>
              <a:t>The ‘Questions’, where do we start with Op Analytics Development Projects? </a:t>
            </a:r>
          </a:p>
          <a:p>
            <a:pPr lvl="2"/>
            <a:r>
              <a:rPr lang="en-US" dirty="0"/>
              <a:t>Picking the right improvement projects, Portfolio Management, Using Op Analytics as a tool for picking the right improvement projects (how Op Analytics helps with P and S)</a:t>
            </a:r>
          </a:p>
          <a:p>
            <a:pPr lvl="2"/>
            <a:r>
              <a:rPr lang="en-US" dirty="0"/>
              <a:t>Seeing, understanding Op Analytics as an integral component of the PDSA, System and Process Improvement Methodology and work</a:t>
            </a:r>
          </a:p>
          <a:p>
            <a:pPr lvl="1"/>
            <a:r>
              <a:rPr lang="en-US" dirty="0"/>
              <a:t>The Data Design, Development, Management Role </a:t>
            </a:r>
          </a:p>
          <a:p>
            <a:pPr lvl="2"/>
            <a:r>
              <a:rPr lang="en-US" dirty="0"/>
              <a:t>Concepts to help with data modeling, data ‘base’ development</a:t>
            </a:r>
          </a:p>
          <a:p>
            <a:pPr lvl="2"/>
            <a:r>
              <a:rPr lang="en-US" dirty="0"/>
              <a:t>Creating the foundation upon which Analytics Tools sit and can be fully utilized</a:t>
            </a:r>
          </a:p>
          <a:p>
            <a:pPr lvl="1"/>
            <a:r>
              <a:rPr lang="en-US" dirty="0"/>
              <a:t>The Data to Information to Insights Role</a:t>
            </a:r>
          </a:p>
          <a:p>
            <a:pPr marL="858837" lvl="2" indent="0">
              <a:buNone/>
            </a:pPr>
            <a:endParaRPr lang="en-US" dirty="0"/>
          </a:p>
          <a:p>
            <a:endParaRPr lang="en-US" b="1" dirty="0"/>
          </a:p>
          <a:p>
            <a:pPr marL="0" indent="0">
              <a:buNone/>
            </a:pPr>
            <a:endParaRPr lang="en-US" b="1" dirty="0"/>
          </a:p>
          <a:p>
            <a:endParaRPr lang="en-US" b="1" dirty="0"/>
          </a:p>
        </p:txBody>
      </p:sp>
    </p:spTree>
    <p:extLst>
      <p:ext uri="{BB962C8B-B14F-4D97-AF65-F5344CB8AC3E}">
        <p14:creationId xmlns:p14="http://schemas.microsoft.com/office/powerpoint/2010/main" val="38300394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C5E07-DB5B-55F2-6F01-6B61AC3D8F04}"/>
              </a:ext>
            </a:extLst>
          </p:cNvPr>
          <p:cNvSpPr>
            <a:spLocks noGrp="1"/>
          </p:cNvSpPr>
          <p:nvPr>
            <p:ph type="title"/>
          </p:nvPr>
        </p:nvSpPr>
        <p:spPr>
          <a:xfrm>
            <a:off x="304800" y="76200"/>
            <a:ext cx="6477000" cy="685800"/>
          </a:xfrm>
        </p:spPr>
        <p:txBody>
          <a:bodyPr/>
          <a:lstStyle/>
          <a:p>
            <a:r>
              <a:rPr lang="en-US" dirty="0"/>
              <a:t>Logic for the Mini-Series and the Certification Program (DCDOV)</a:t>
            </a:r>
          </a:p>
        </p:txBody>
      </p:sp>
      <p:sp>
        <p:nvSpPr>
          <p:cNvPr id="3" name="Content Placeholder 2">
            <a:extLst>
              <a:ext uri="{FF2B5EF4-FFF2-40B4-BE49-F238E27FC236}">
                <a16:creationId xmlns:a16="http://schemas.microsoft.com/office/drawing/2014/main" id="{D52268DB-61E4-27E1-5D29-0E7DE9B5711D}"/>
              </a:ext>
            </a:extLst>
          </p:cNvPr>
          <p:cNvSpPr>
            <a:spLocks noGrp="1"/>
          </p:cNvSpPr>
          <p:nvPr>
            <p:ph idx="1"/>
          </p:nvPr>
        </p:nvSpPr>
        <p:spPr>
          <a:xfrm>
            <a:off x="304800" y="990600"/>
            <a:ext cx="8534400" cy="5410200"/>
          </a:xfrm>
        </p:spPr>
        <p:txBody>
          <a:bodyPr/>
          <a:lstStyle/>
          <a:p>
            <a:pPr marL="0" indent="0">
              <a:buNone/>
            </a:pPr>
            <a:r>
              <a:rPr lang="en-US" b="1" dirty="0"/>
              <a:t>OA 101:  DEFINE--Foundations for Building Performance Measurement, Evaluation, Improvement Systems  </a:t>
            </a:r>
            <a:endParaRPr lang="en-US" dirty="0"/>
          </a:p>
          <a:p>
            <a:pPr marL="0" indent="0">
              <a:buNone/>
            </a:pPr>
            <a:r>
              <a:rPr lang="en-US" b="1" dirty="0"/>
              <a:t>OA 201:  CONCEPT DESIGN—The Data Management and Analyst Roles and Methodology</a:t>
            </a:r>
          </a:p>
          <a:p>
            <a:pPr marL="0" indent="0">
              <a:buNone/>
            </a:pPr>
            <a:endParaRPr lang="en-US" b="1" dirty="0"/>
          </a:p>
          <a:p>
            <a:pPr marL="0" indent="0">
              <a:buNone/>
            </a:pPr>
            <a:r>
              <a:rPr lang="en-US" b="1" dirty="0"/>
              <a:t>OA 301:  DETAILED DESIGN AND DEVELOPMENT—Developing Visible Measurement and Management Systems that ‘catalyze’ knowing what to improve and how things are improving over time.  </a:t>
            </a:r>
          </a:p>
          <a:p>
            <a:pPr lvl="1"/>
            <a:r>
              <a:rPr lang="en-US" dirty="0"/>
              <a:t>Defining ‘Visibility’, The Power of Visible Measurement, How they support “Good Strategy”</a:t>
            </a:r>
          </a:p>
          <a:p>
            <a:pPr lvl="1"/>
            <a:r>
              <a:rPr lang="en-US" dirty="0"/>
              <a:t>Building Scorecards and Dashboards </a:t>
            </a:r>
          </a:p>
          <a:p>
            <a:pPr lvl="1"/>
            <a:r>
              <a:rPr lang="en-US" dirty="0"/>
              <a:t>Deploying them into Tiered Huddle Systems (as example)</a:t>
            </a:r>
          </a:p>
          <a:p>
            <a:pPr lvl="1"/>
            <a:endParaRPr lang="en-US" dirty="0"/>
          </a:p>
          <a:p>
            <a:r>
              <a:rPr lang="en-US" b="1" dirty="0"/>
              <a:t>OA 401:  BEST PRACTICES (Case Studies)</a:t>
            </a:r>
          </a:p>
          <a:p>
            <a:pPr lvl="1"/>
            <a:r>
              <a:rPr lang="en-US" dirty="0"/>
              <a:t>University Health Network, Toronto, Chief Data and Analytics Officer</a:t>
            </a:r>
          </a:p>
          <a:p>
            <a:pPr lvl="1"/>
            <a:endParaRPr lang="en-US" dirty="0"/>
          </a:p>
          <a:p>
            <a:r>
              <a:rPr lang="en-US" b="1" dirty="0"/>
              <a:t>OA 501 and 601 (on drawing board)</a:t>
            </a:r>
          </a:p>
          <a:p>
            <a:pPr lvl="1"/>
            <a:r>
              <a:rPr lang="en-US" dirty="0"/>
              <a:t>Advanced Tools to support best in class </a:t>
            </a:r>
            <a:r>
              <a:rPr lang="en-US"/>
              <a:t>Operational Analytics </a:t>
            </a:r>
            <a:endParaRPr lang="en-US" dirty="0"/>
          </a:p>
          <a:p>
            <a:pPr marL="0" indent="0">
              <a:buNone/>
            </a:pPr>
            <a:endParaRPr lang="en-US" b="1" dirty="0"/>
          </a:p>
          <a:p>
            <a:endParaRPr lang="en-US" b="1" dirty="0"/>
          </a:p>
        </p:txBody>
      </p:sp>
    </p:spTree>
    <p:extLst>
      <p:ext uri="{BB962C8B-B14F-4D97-AF65-F5344CB8AC3E}">
        <p14:creationId xmlns:p14="http://schemas.microsoft.com/office/powerpoint/2010/main" val="3325468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DS_PPt_Template">
  <a:themeElements>
    <a:clrScheme name="MDS_PPt_Template 15">
      <a:dk1>
        <a:srgbClr val="000000"/>
      </a:dk1>
      <a:lt1>
        <a:srgbClr val="FFFFFF"/>
      </a:lt1>
      <a:dk2>
        <a:srgbClr val="000000"/>
      </a:dk2>
      <a:lt2>
        <a:srgbClr val="E9D567"/>
      </a:lt2>
      <a:accent1>
        <a:srgbClr val="019069"/>
      </a:accent1>
      <a:accent2>
        <a:srgbClr val="29539B"/>
      </a:accent2>
      <a:accent3>
        <a:srgbClr val="FFFFFF"/>
      </a:accent3>
      <a:accent4>
        <a:srgbClr val="000000"/>
      </a:accent4>
      <a:accent5>
        <a:srgbClr val="AAC6B9"/>
      </a:accent5>
      <a:accent6>
        <a:srgbClr val="244A8C"/>
      </a:accent6>
      <a:hlink>
        <a:srgbClr val="E47F00"/>
      </a:hlink>
      <a:folHlink>
        <a:srgbClr val="689A0E"/>
      </a:folHlink>
    </a:clrScheme>
    <a:fontScheme name="MDS_PP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MDS_PPt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DS_PPt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DS_PPt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DS_PPt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DS_PPt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DS_PPt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DS_PPt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DS_PPt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DS_PPt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DS_PPt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DS_PPt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DS_PPt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DS_PPt_Template 13">
        <a:dk1>
          <a:srgbClr val="000000"/>
        </a:dk1>
        <a:lt1>
          <a:srgbClr val="FFFFFF"/>
        </a:lt1>
        <a:dk2>
          <a:srgbClr val="000000"/>
        </a:dk2>
        <a:lt2>
          <a:srgbClr val="E9D567"/>
        </a:lt2>
        <a:accent1>
          <a:srgbClr val="019069"/>
        </a:accent1>
        <a:accent2>
          <a:srgbClr val="003596"/>
        </a:accent2>
        <a:accent3>
          <a:srgbClr val="FFFFFF"/>
        </a:accent3>
        <a:accent4>
          <a:srgbClr val="000000"/>
        </a:accent4>
        <a:accent5>
          <a:srgbClr val="AAC6B9"/>
        </a:accent5>
        <a:accent6>
          <a:srgbClr val="002F87"/>
        </a:accent6>
        <a:hlink>
          <a:srgbClr val="CC7E50"/>
        </a:hlink>
        <a:folHlink>
          <a:srgbClr val="689A0E"/>
        </a:folHlink>
      </a:clrScheme>
      <a:clrMap bg1="lt1" tx1="dk1" bg2="lt2" tx2="dk2" accent1="accent1" accent2="accent2" accent3="accent3" accent4="accent4" accent5="accent5" accent6="accent6" hlink="hlink" folHlink="folHlink"/>
    </a:extraClrScheme>
    <a:extraClrScheme>
      <a:clrScheme name="MDS_PPt_Template 14">
        <a:dk1>
          <a:srgbClr val="000000"/>
        </a:dk1>
        <a:lt1>
          <a:srgbClr val="FFFFFF"/>
        </a:lt1>
        <a:dk2>
          <a:srgbClr val="000000"/>
        </a:dk2>
        <a:lt2>
          <a:srgbClr val="E9D567"/>
        </a:lt2>
        <a:accent1>
          <a:srgbClr val="019069"/>
        </a:accent1>
        <a:accent2>
          <a:srgbClr val="29539B"/>
        </a:accent2>
        <a:accent3>
          <a:srgbClr val="FFFFFF"/>
        </a:accent3>
        <a:accent4>
          <a:srgbClr val="000000"/>
        </a:accent4>
        <a:accent5>
          <a:srgbClr val="AAC6B9"/>
        </a:accent5>
        <a:accent6>
          <a:srgbClr val="244A8C"/>
        </a:accent6>
        <a:hlink>
          <a:srgbClr val="CC7E50"/>
        </a:hlink>
        <a:folHlink>
          <a:srgbClr val="689A0E"/>
        </a:folHlink>
      </a:clrScheme>
      <a:clrMap bg1="lt1" tx1="dk1" bg2="lt2" tx2="dk2" accent1="accent1" accent2="accent2" accent3="accent3" accent4="accent4" accent5="accent5" accent6="accent6" hlink="hlink" folHlink="folHlink"/>
    </a:extraClrScheme>
    <a:extraClrScheme>
      <a:clrScheme name="MDS_PPt_Template 15">
        <a:dk1>
          <a:srgbClr val="000000"/>
        </a:dk1>
        <a:lt1>
          <a:srgbClr val="FFFFFF"/>
        </a:lt1>
        <a:dk2>
          <a:srgbClr val="000000"/>
        </a:dk2>
        <a:lt2>
          <a:srgbClr val="E9D567"/>
        </a:lt2>
        <a:accent1>
          <a:srgbClr val="019069"/>
        </a:accent1>
        <a:accent2>
          <a:srgbClr val="29539B"/>
        </a:accent2>
        <a:accent3>
          <a:srgbClr val="FFFFFF"/>
        </a:accent3>
        <a:accent4>
          <a:srgbClr val="000000"/>
        </a:accent4>
        <a:accent5>
          <a:srgbClr val="AAC6B9"/>
        </a:accent5>
        <a:accent6>
          <a:srgbClr val="244A8C"/>
        </a:accent6>
        <a:hlink>
          <a:srgbClr val="E47F00"/>
        </a:hlink>
        <a:folHlink>
          <a:srgbClr val="689A0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Standarddesign">
  <a:themeElements>
    <a:clrScheme name="1_Standarddesign 13">
      <a:dk1>
        <a:srgbClr val="000000"/>
      </a:dk1>
      <a:lt1>
        <a:srgbClr val="FFFFFF"/>
      </a:lt1>
      <a:dk2>
        <a:srgbClr val="000000"/>
      </a:dk2>
      <a:lt2>
        <a:srgbClr val="FFFFFF"/>
      </a:lt2>
      <a:accent1>
        <a:srgbClr val="EAEAEA"/>
      </a:accent1>
      <a:accent2>
        <a:srgbClr val="0066FF"/>
      </a:accent2>
      <a:accent3>
        <a:srgbClr val="FFFFFF"/>
      </a:accent3>
      <a:accent4>
        <a:srgbClr val="000000"/>
      </a:accent4>
      <a:accent5>
        <a:srgbClr val="F3F3F3"/>
      </a:accent5>
      <a:accent6>
        <a:srgbClr val="005CE7"/>
      </a:accent6>
      <a:hlink>
        <a:srgbClr val="000066"/>
      </a:hlink>
      <a:folHlink>
        <a:srgbClr val="0000FF"/>
      </a:folHlink>
    </a:clrScheme>
    <a:fontScheme name="1_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Standarddesign 13">
        <a:dk1>
          <a:srgbClr val="000000"/>
        </a:dk1>
        <a:lt1>
          <a:srgbClr val="FFFFFF"/>
        </a:lt1>
        <a:dk2>
          <a:srgbClr val="000000"/>
        </a:dk2>
        <a:lt2>
          <a:srgbClr val="FFFFFF"/>
        </a:lt2>
        <a:accent1>
          <a:srgbClr val="EAEAEA"/>
        </a:accent1>
        <a:accent2>
          <a:srgbClr val="0066FF"/>
        </a:accent2>
        <a:accent3>
          <a:srgbClr val="FFFFFF"/>
        </a:accent3>
        <a:accent4>
          <a:srgbClr val="000000"/>
        </a:accent4>
        <a:accent5>
          <a:srgbClr val="F3F3F3"/>
        </a:accent5>
        <a:accent6>
          <a:srgbClr val="005CE7"/>
        </a:accent6>
        <a:hlink>
          <a:srgbClr val="000066"/>
        </a:hlink>
        <a:folHlink>
          <a:srgbClr val="0000FF"/>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Office Theme">
  <a:themeElements>
    <a:clrScheme name="The Poirier Group">
      <a:dk1>
        <a:sysClr val="windowText" lastClr="000000"/>
      </a:dk1>
      <a:lt1>
        <a:sysClr val="window" lastClr="FFFFFF"/>
      </a:lt1>
      <a:dk2>
        <a:srgbClr val="20212A"/>
      </a:dk2>
      <a:lt2>
        <a:srgbClr val="E7E6E6"/>
      </a:lt2>
      <a:accent1>
        <a:srgbClr val="267BAB"/>
      </a:accent1>
      <a:accent2>
        <a:srgbClr val="FD8300"/>
      </a:accent2>
      <a:accent3>
        <a:srgbClr val="0070C0"/>
      </a:accent3>
      <a:accent4>
        <a:srgbClr val="002060"/>
      </a:accent4>
      <a:accent5>
        <a:srgbClr val="B74919"/>
      </a:accent5>
      <a:accent6>
        <a:srgbClr val="00B0F0"/>
      </a:accent6>
      <a:hlink>
        <a:srgbClr val="0563C1"/>
      </a:hlink>
      <a:folHlink>
        <a:srgbClr val="0E4D3C"/>
      </a:folHlink>
    </a:clrScheme>
    <a:fontScheme name="Custom 2">
      <a:majorFont>
        <a:latin typeface="Open Sans"/>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14.xml><?xml version="1.0" encoding="utf-8"?>
<a:theme xmlns:a="http://schemas.openxmlformats.org/drawingml/2006/main" name="1_Standard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Standarddesign 13">
        <a:dk1>
          <a:srgbClr val="000000"/>
        </a:dk1>
        <a:lt1>
          <a:srgbClr val="FFFFFF"/>
        </a:lt1>
        <a:dk2>
          <a:srgbClr val="000000"/>
        </a:dk2>
        <a:lt2>
          <a:srgbClr val="FFFFFF"/>
        </a:lt2>
        <a:accent1>
          <a:srgbClr val="EAEAEA"/>
        </a:accent1>
        <a:accent2>
          <a:srgbClr val="0066FF"/>
        </a:accent2>
        <a:accent3>
          <a:srgbClr val="FFFFFF"/>
        </a:accent3>
        <a:accent4>
          <a:srgbClr val="000000"/>
        </a:accent4>
        <a:accent5>
          <a:srgbClr val="F3F3F3"/>
        </a:accent5>
        <a:accent6>
          <a:srgbClr val="005CE7"/>
        </a:accent6>
        <a:hlink>
          <a:srgbClr val="000066"/>
        </a:hlink>
        <a:folHlink>
          <a:srgbClr val="0000FF"/>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Office Theme">
  <a:themeElements>
    <a:clrScheme name="Custom 1">
      <a:dk1>
        <a:sysClr val="windowText" lastClr="000000"/>
      </a:dk1>
      <a:lt1>
        <a:sysClr val="window" lastClr="FFFFFF"/>
      </a:lt1>
      <a:dk2>
        <a:srgbClr val="144058"/>
      </a:dk2>
      <a:lt2>
        <a:srgbClr val="E7E6E6"/>
      </a:lt2>
      <a:accent1>
        <a:srgbClr val="267BAB"/>
      </a:accent1>
      <a:accent2>
        <a:srgbClr val="ED7D31"/>
      </a:accent2>
      <a:accent3>
        <a:srgbClr val="A5A5A5"/>
      </a:accent3>
      <a:accent4>
        <a:srgbClr val="84C2E4"/>
      </a:accent4>
      <a:accent5>
        <a:srgbClr val="5B9BD5"/>
      </a:accent5>
      <a:accent6>
        <a:srgbClr val="023160"/>
      </a:accent6>
      <a:hlink>
        <a:srgbClr val="0563C1"/>
      </a:hlink>
      <a:folHlink>
        <a:srgbClr val="F7CBAC"/>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TorontoMet_MasterTemplate v1">
  <a:themeElements>
    <a:clrScheme name="Ryerson University">
      <a:dk1>
        <a:srgbClr val="000000"/>
      </a:dk1>
      <a:lt1>
        <a:srgbClr val="FFFFFF"/>
      </a:lt1>
      <a:dk2>
        <a:srgbClr val="004C9B"/>
      </a:dk2>
      <a:lt2>
        <a:srgbClr val="FFDC00"/>
      </a:lt2>
      <a:accent1>
        <a:srgbClr val="011E5E"/>
      </a:accent1>
      <a:accent2>
        <a:srgbClr val="1297EB"/>
      </a:accent2>
      <a:accent3>
        <a:srgbClr val="4CB4F1"/>
      </a:accent3>
      <a:accent4>
        <a:srgbClr val="FD9208"/>
      </a:accent4>
      <a:accent5>
        <a:srgbClr val="FEBC0D"/>
      </a:accent5>
      <a:accent6>
        <a:srgbClr val="FFEE0A"/>
      </a:accent6>
      <a:hlink>
        <a:srgbClr val="004C9B"/>
      </a:hlink>
      <a:folHlink>
        <a:srgbClr val="D0D0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Custom 5">
      <a:dk1>
        <a:srgbClr val="000000"/>
      </a:dk1>
      <a:lt1>
        <a:srgbClr val="FFFFFF"/>
      </a:lt1>
      <a:dk2>
        <a:srgbClr val="1A0302"/>
      </a:dk2>
      <a:lt2>
        <a:srgbClr val="E7E6E6"/>
      </a:lt2>
      <a:accent1>
        <a:srgbClr val="00ACBF"/>
      </a:accent1>
      <a:accent2>
        <a:srgbClr val="FFB71B"/>
      </a:accent2>
      <a:accent3>
        <a:srgbClr val="F68E47"/>
      </a:accent3>
      <a:accent4>
        <a:srgbClr val="F16158"/>
      </a:accent4>
      <a:accent5>
        <a:srgbClr val="61CBE8"/>
      </a:accent5>
      <a:accent6>
        <a:srgbClr val="2B338C"/>
      </a:accent6>
      <a:hlink>
        <a:srgbClr val="D19385"/>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Custom 1">
      <a:dk1>
        <a:sysClr val="windowText" lastClr="000000"/>
      </a:dk1>
      <a:lt1>
        <a:sysClr val="window" lastClr="FFFFFF"/>
      </a:lt1>
      <a:dk2>
        <a:srgbClr val="144058"/>
      </a:dk2>
      <a:lt2>
        <a:srgbClr val="E7E6E6"/>
      </a:lt2>
      <a:accent1>
        <a:srgbClr val="267BAB"/>
      </a:accent1>
      <a:accent2>
        <a:srgbClr val="ED7D31"/>
      </a:accent2>
      <a:accent3>
        <a:srgbClr val="A5A5A5"/>
      </a:accent3>
      <a:accent4>
        <a:srgbClr val="84C2E4"/>
      </a:accent4>
      <a:accent5>
        <a:srgbClr val="5B9BD5"/>
      </a:accent5>
      <a:accent6>
        <a:srgbClr val="023160"/>
      </a:accent6>
      <a:hlink>
        <a:srgbClr val="0563C1"/>
      </a:hlink>
      <a:folHlink>
        <a:srgbClr val="F7CBAC"/>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Standarddesign">
  <a:themeElements>
    <a:clrScheme name="1_Standarddesign 13">
      <a:dk1>
        <a:srgbClr val="000000"/>
      </a:dk1>
      <a:lt1>
        <a:srgbClr val="FFFFFF"/>
      </a:lt1>
      <a:dk2>
        <a:srgbClr val="000000"/>
      </a:dk2>
      <a:lt2>
        <a:srgbClr val="FFFFFF"/>
      </a:lt2>
      <a:accent1>
        <a:srgbClr val="EAEAEA"/>
      </a:accent1>
      <a:accent2>
        <a:srgbClr val="0066FF"/>
      </a:accent2>
      <a:accent3>
        <a:srgbClr val="FFFFFF"/>
      </a:accent3>
      <a:accent4>
        <a:srgbClr val="000000"/>
      </a:accent4>
      <a:accent5>
        <a:srgbClr val="F3F3F3"/>
      </a:accent5>
      <a:accent6>
        <a:srgbClr val="005CE7"/>
      </a:accent6>
      <a:hlink>
        <a:srgbClr val="000066"/>
      </a:hlink>
      <a:folHlink>
        <a:srgbClr val="0000FF"/>
      </a:folHlink>
    </a:clrScheme>
    <a:fontScheme name="1_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Standarddesign 13">
        <a:dk1>
          <a:srgbClr val="000000"/>
        </a:dk1>
        <a:lt1>
          <a:srgbClr val="FFFFFF"/>
        </a:lt1>
        <a:dk2>
          <a:srgbClr val="000000"/>
        </a:dk2>
        <a:lt2>
          <a:srgbClr val="FFFFFF"/>
        </a:lt2>
        <a:accent1>
          <a:srgbClr val="EAEAEA"/>
        </a:accent1>
        <a:accent2>
          <a:srgbClr val="0066FF"/>
        </a:accent2>
        <a:accent3>
          <a:srgbClr val="FFFFFF"/>
        </a:accent3>
        <a:accent4>
          <a:srgbClr val="000000"/>
        </a:accent4>
        <a:accent5>
          <a:srgbClr val="F3F3F3"/>
        </a:accent5>
        <a:accent6>
          <a:srgbClr val="005CE7"/>
        </a:accent6>
        <a:hlink>
          <a:srgbClr val="000066"/>
        </a:hlink>
        <a:folHlink>
          <a:srgbClr val="0000FF"/>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Office Theme">
  <a:themeElements>
    <a:clrScheme name="Custom 1">
      <a:dk1>
        <a:sysClr val="windowText" lastClr="000000"/>
      </a:dk1>
      <a:lt1>
        <a:sysClr val="window" lastClr="FFFFFF"/>
      </a:lt1>
      <a:dk2>
        <a:srgbClr val="144058"/>
      </a:dk2>
      <a:lt2>
        <a:srgbClr val="E7E6E6"/>
      </a:lt2>
      <a:accent1>
        <a:srgbClr val="267BAB"/>
      </a:accent1>
      <a:accent2>
        <a:srgbClr val="ED7D31"/>
      </a:accent2>
      <a:accent3>
        <a:srgbClr val="A5A5A5"/>
      </a:accent3>
      <a:accent4>
        <a:srgbClr val="84C2E4"/>
      </a:accent4>
      <a:accent5>
        <a:srgbClr val="5B9BD5"/>
      </a:accent5>
      <a:accent6>
        <a:srgbClr val="023160"/>
      </a:accent6>
      <a:hlink>
        <a:srgbClr val="0563C1"/>
      </a:hlink>
      <a:folHlink>
        <a:srgbClr val="F7CBAC"/>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1FE3F185438748969FAB3087351A2B" ma:contentTypeVersion="20" ma:contentTypeDescription="Create a new document." ma:contentTypeScope="" ma:versionID="bd4a7ad99e597ad21a64d507706b7009">
  <xsd:schema xmlns:xsd="http://www.w3.org/2001/XMLSchema" xmlns:xs="http://www.w3.org/2001/XMLSchema" xmlns:p="http://schemas.microsoft.com/office/2006/metadata/properties" xmlns:ns2="70faa38d-1fab-410c-bd7a-f43f9c437b0f" xmlns:ns3="f76185a4-6fb9-419f-8cbf-5f235545f7bc" targetNamespace="http://schemas.microsoft.com/office/2006/metadata/properties" ma:root="true" ma:fieldsID="b8da7faa0d2c7db14968caa1f4c5d13a" ns2:_="" ns3:_="">
    <xsd:import namespace="70faa38d-1fab-410c-bd7a-f43f9c437b0f"/>
    <xsd:import namespace="f76185a4-6fb9-419f-8cbf-5f235545f7bc"/>
    <xsd:element name="properties">
      <xsd:complexType>
        <xsd:sequence>
          <xsd:element name="documentManagement">
            <xsd:complexType>
              <xsd:all>
                <xsd:element ref="ns2:Tags" minOccurs="0"/>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element ref="ns2:Industry" minOccurs="0"/>
                <xsd:element ref="ns2:ServiceOffering" minOccurs="0"/>
                <xsd:element ref="ns2:MediaServiceOCR" minOccurs="0"/>
                <xsd:element ref="ns2:MediaServiceLocation" minOccurs="0"/>
                <xsd:element ref="ns2:KOOwner"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faa38d-1fab-410c-bd7a-f43f9c437b0f" elementFormDefault="qualified">
    <xsd:import namespace="http://schemas.microsoft.com/office/2006/documentManagement/types"/>
    <xsd:import namespace="http://schemas.microsoft.com/office/infopath/2007/PartnerControls"/>
    <xsd:element name="Tags" ma:index="1" nillable="true" ma:displayName="Doc type" ma:format="Dropdown" ma:internalName="Tags">
      <xsd:simpleType>
        <xsd:restriction base="dms:Choice">
          <xsd:enumeration value="White Paper"/>
          <xsd:enumeration value="Case Study"/>
          <xsd:enumeration value="Webinar PPT"/>
          <xsd:enumeration value="SOP"/>
          <xsd:enumeration value="Project Document"/>
          <xsd:enumeration value="Example"/>
          <xsd:enumeration value="Template"/>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83e2768-36df-4830-82bf-a273863e8736"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Industry" ma:index="20" nillable="true" ma:displayName="Industry" ma:format="Dropdown" ma:internalName="Industry">
      <xsd:complexType>
        <xsd:complexContent>
          <xsd:extension base="dms:MultiChoice">
            <xsd:sequence>
              <xsd:element name="Value" maxOccurs="unbounded" minOccurs="0" nillable="true">
                <xsd:simpleType>
                  <xsd:restriction base="dms:Choice">
                    <xsd:enumeration value="Retail"/>
                    <xsd:enumeration value="Grocery"/>
                    <xsd:enumeration value="Aerospace &amp; Defense"/>
                    <xsd:enumeration value="Industrials"/>
                    <xsd:enumeration value="Manufacturing"/>
                    <xsd:enumeration value="Pharmaceuticals"/>
                    <xsd:enumeration value="Transportation"/>
                    <xsd:enumeration value="Private Equity"/>
                    <xsd:enumeration value="Real Estate"/>
                    <xsd:enumeration value="Financial Services"/>
                    <xsd:enumeration value="Govt &amp; Public Sector"/>
                    <xsd:enumeration value="Health &amp; Life Sciences"/>
                    <xsd:enumeration value="IT Services"/>
                    <xsd:enumeration value="Food &amp; Beverage"/>
                    <xsd:enumeration value="Oil &amp; Gas"/>
                    <xsd:enumeration value="SaaS"/>
                    <xsd:enumeration value="Furniture"/>
                    <xsd:enumeration value="Construction"/>
                    <xsd:enumeration value="e-commerce"/>
                  </xsd:restriction>
                </xsd:simpleType>
              </xsd:element>
            </xsd:sequence>
          </xsd:extension>
        </xsd:complexContent>
      </xsd:complexType>
    </xsd:element>
    <xsd:element name="ServiceOffering" ma:index="21" nillable="true" ma:displayName="Service Offering" ma:format="Dropdown" ma:internalName="ServiceOffering">
      <xsd:complexType>
        <xsd:complexContent>
          <xsd:extension base="dms:MultiChoice">
            <xsd:sequence>
              <xsd:element name="Value" maxOccurs="unbounded" minOccurs="0" nillable="true">
                <xsd:simpleType>
                  <xsd:restriction base="dms:Choice">
                    <xsd:enumeration value="Initiation Study"/>
                    <xsd:enumeration value="Business Process Rengineering"/>
                    <xsd:enumeration value="Org Design and R&amp;R"/>
                    <xsd:enumeration value="Change Management"/>
                    <xsd:enumeration value="Supply Chain &amp; Inventory Mgmt"/>
                    <xsd:enumeration value="Warehouse Optimization"/>
                    <xsd:enumeration value="Lead Time Reduction"/>
                    <xsd:enumeration value="Strategy Deployment"/>
                    <xsd:enumeration value="Leadership Training"/>
                    <xsd:enumeration value="Performance Mgmt"/>
                    <xsd:enumeration value="Vendor Mgmt"/>
                    <xsd:enumeration value="IT Assessment"/>
                    <xsd:enumeration value="Operational Due-Diligence"/>
                    <xsd:enumeration value="Culture, Values &amp; Operating Principles"/>
                    <xsd:enumeration value="Manufacturing Optimization"/>
                    <xsd:enumeration value="IT Strategy"/>
                    <xsd:enumeration value="SOP &amp; Process Controls"/>
                    <xsd:enumeration value="Customer Experience"/>
                    <xsd:enumeration value="Process Automation"/>
                  </xsd:restriction>
                </xsd:simpleType>
              </xsd:element>
            </xsd:sequence>
          </xsd:extension>
        </xsd:complexContent>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Location" ma:index="23" nillable="true" ma:displayName="Location" ma:indexed="true" ma:internalName="MediaServiceLocation" ma:readOnly="true">
      <xsd:simpleType>
        <xsd:restriction base="dms:Text"/>
      </xsd:simpleType>
    </xsd:element>
    <xsd:element name="KOOwner" ma:index="24" nillable="true" ma:displayName="KO Owner" ma:description="Here you find the Knowledge Object (KO) Owner for each of these solution offering Knowledge Objects. This Person is " ma:format="Dropdown" ma:list="UserInfo" ma:SharePointGroup="0" ma:internalName="KOOwn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76185a4-6fb9-419f-8cbf-5f235545f7b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63d4afd-7e87-4b81-843c-c07287542a1f}" ma:internalName="TaxCatchAll" ma:readOnly="false" ma:showField="CatchAllData" ma:web="f76185a4-6fb9-419f-8cbf-5f235545f7bc">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76185a4-6fb9-419f-8cbf-5f235545f7bc" xsi:nil="true"/>
    <KOOwner xmlns="70faa38d-1fab-410c-bd7a-f43f9c437b0f">
      <UserInfo>
        <DisplayName/>
        <AccountId xsi:nil="true"/>
        <AccountType/>
      </UserInfo>
    </KOOwner>
    <lcf76f155ced4ddcb4097134ff3c332f xmlns="70faa38d-1fab-410c-bd7a-f43f9c437b0f">
      <Terms xmlns="http://schemas.microsoft.com/office/infopath/2007/PartnerControls"/>
    </lcf76f155ced4ddcb4097134ff3c332f>
    <Tags xmlns="70faa38d-1fab-410c-bd7a-f43f9c437b0f" xsi:nil="true"/>
    <Industry xmlns="70faa38d-1fab-410c-bd7a-f43f9c437b0f" xsi:nil="true"/>
    <ServiceOffering xmlns="70faa38d-1fab-410c-bd7a-f43f9c437b0f" xsi:nil="true"/>
  </documentManagement>
</p:properties>
</file>

<file path=customXml/itemProps1.xml><?xml version="1.0" encoding="utf-8"?>
<ds:datastoreItem xmlns:ds="http://schemas.openxmlformats.org/officeDocument/2006/customXml" ds:itemID="{F865AAAE-AEE2-4305-96D6-A0F2ABA53AB7}"/>
</file>

<file path=customXml/itemProps2.xml><?xml version="1.0" encoding="utf-8"?>
<ds:datastoreItem xmlns:ds="http://schemas.openxmlformats.org/officeDocument/2006/customXml" ds:itemID="{679B5E9C-59C4-412F-8CBA-0C5C81417B50}"/>
</file>

<file path=customXml/itemProps3.xml><?xml version="1.0" encoding="utf-8"?>
<ds:datastoreItem xmlns:ds="http://schemas.openxmlformats.org/officeDocument/2006/customXml" ds:itemID="{1D0B1DE6-BA5C-4D14-AFFD-C92F92ED9446}"/>
</file>

<file path=docProps/app.xml><?xml version="1.0" encoding="utf-8"?>
<Properties xmlns="http://schemas.openxmlformats.org/officeDocument/2006/extended-properties" xmlns:vt="http://schemas.openxmlformats.org/officeDocument/2006/docPropsVTypes">
  <Template/>
  <TotalTime>144738</TotalTime>
  <Words>6031</Words>
  <Application>Microsoft Office PowerPoint</Application>
  <PresentationFormat>On-screen Show (4:3)</PresentationFormat>
  <Paragraphs>839</Paragraphs>
  <Slides>71</Slides>
  <Notes>23</Notes>
  <HiddenSlides>0</HiddenSlides>
  <MMClips>0</MMClips>
  <ScaleCrop>false</ScaleCrop>
  <HeadingPairs>
    <vt:vector size="8" baseType="variant">
      <vt:variant>
        <vt:lpstr>Fonts Used</vt:lpstr>
      </vt:variant>
      <vt:variant>
        <vt:i4>18</vt:i4>
      </vt:variant>
      <vt:variant>
        <vt:lpstr>Theme</vt:lpstr>
      </vt:variant>
      <vt:variant>
        <vt:i4>16</vt:i4>
      </vt:variant>
      <vt:variant>
        <vt:lpstr>Embedded OLE Servers</vt:lpstr>
      </vt:variant>
      <vt:variant>
        <vt:i4>1</vt:i4>
      </vt:variant>
      <vt:variant>
        <vt:lpstr>Slide Titles</vt:lpstr>
      </vt:variant>
      <vt:variant>
        <vt:i4>71</vt:i4>
      </vt:variant>
    </vt:vector>
  </HeadingPairs>
  <TitlesOfParts>
    <vt:vector size="106" baseType="lpstr">
      <vt:lpstr>Apercu Pro Light</vt:lpstr>
      <vt:lpstr>Apercu Pro Medium</vt:lpstr>
      <vt:lpstr>Arial</vt:lpstr>
      <vt:lpstr>Baloo Bhaijaan</vt:lpstr>
      <vt:lpstr>Baskerville Old Face</vt:lpstr>
      <vt:lpstr>Bradley Hand ITC</vt:lpstr>
      <vt:lpstr>Calibri</vt:lpstr>
      <vt:lpstr>Calibri Light</vt:lpstr>
      <vt:lpstr>Century Gothic</vt:lpstr>
      <vt:lpstr>Courier New</vt:lpstr>
      <vt:lpstr>Garamond</vt:lpstr>
      <vt:lpstr>Open Sans</vt:lpstr>
      <vt:lpstr>Roboto</vt:lpstr>
      <vt:lpstr>Segoe UI</vt:lpstr>
      <vt:lpstr>Times</vt:lpstr>
      <vt:lpstr>Times New Roman</vt:lpstr>
      <vt:lpstr>TKTypeMedium</vt:lpstr>
      <vt:lpstr>Wingdings</vt:lpstr>
      <vt:lpstr>MDS_PPt_Template</vt:lpstr>
      <vt:lpstr>Custom Design</vt:lpstr>
      <vt:lpstr>Office Theme</vt:lpstr>
      <vt:lpstr>Office Theme</vt:lpstr>
      <vt:lpstr>2_Office Theme</vt:lpstr>
      <vt:lpstr>1_Standarddesign</vt:lpstr>
      <vt:lpstr>2_Office Theme</vt:lpstr>
      <vt:lpstr>Office Theme</vt:lpstr>
      <vt:lpstr>Office Theme</vt:lpstr>
      <vt:lpstr>2_Office Theme</vt:lpstr>
      <vt:lpstr>Office Theme</vt:lpstr>
      <vt:lpstr>1_Standarddesign</vt:lpstr>
      <vt:lpstr>1_Office Theme</vt:lpstr>
      <vt:lpstr>1_Standarddesign</vt:lpstr>
      <vt:lpstr>Office Theme</vt:lpstr>
      <vt:lpstr>TorontoMet_MasterTemplate v1</vt:lpstr>
      <vt:lpstr>think-cell Slide</vt:lpstr>
      <vt:lpstr>PowerPoint Presentation</vt:lpstr>
      <vt:lpstr>Agenda</vt:lpstr>
      <vt:lpstr>Data and Experience Foundation</vt:lpstr>
      <vt:lpstr>Key points</vt:lpstr>
      <vt:lpstr>Operational Analytics—Opportunity Framing</vt:lpstr>
      <vt:lpstr>Operational Analytics—Opportunity Framing</vt:lpstr>
      <vt:lpstr>Logic for the OA Foundations</vt:lpstr>
      <vt:lpstr>Logic for the Mini-Series and the Certification Program</vt:lpstr>
      <vt:lpstr>Logic for the Mini-Series and the Certification Program (DCDOV)</vt:lpstr>
      <vt:lpstr>You can’t do ‘good’ Analytics work and not be a good Systems Thinker</vt:lpstr>
      <vt:lpstr>ISE’s Create Value by Integrating People, Strategy, Process and Technology</vt:lpstr>
      <vt:lpstr>Operational Analytics Begins with the End in Mind End Game:  Grow Enterprise Value</vt:lpstr>
      <vt:lpstr>END GAME:  Grow Enterprise Value</vt:lpstr>
      <vt:lpstr>Succeeding at Operational Excellence and Analytics—why it’s a big deal</vt:lpstr>
      <vt:lpstr>Context – The Purpose of Operational Analytics, Analysts</vt:lpstr>
      <vt:lpstr>Logic for the OA Foundations</vt:lpstr>
      <vt:lpstr>Fundamental Questions</vt:lpstr>
      <vt:lpstr>The Management Systems Model—who Manages, what’s managed, how we manage</vt:lpstr>
      <vt:lpstr>The Organizational System—What’s being Managed</vt:lpstr>
      <vt:lpstr>Methods, Tools to use </vt:lpstr>
      <vt:lpstr>PowerPoint Presentation</vt:lpstr>
      <vt:lpstr>PowerPoint Presentation</vt:lpstr>
      <vt:lpstr>PowerPoint Presentation</vt:lpstr>
      <vt:lpstr>Zoom In: Saltine Line Control Points</vt:lpstr>
      <vt:lpstr>Enterprise Value Creation for BBBST</vt:lpstr>
      <vt:lpstr>The Management Systems Model—who Manages and how we provide better Decision-Action/Study-Adjust support</vt:lpstr>
      <vt:lpstr>Need to understand…</vt:lpstr>
      <vt:lpstr>Lots of versions of Balance Scorecard</vt:lpstr>
      <vt:lpstr>Another tact on ‘Balanced Scorecards’ (Instrument Panel in Cockpit)</vt:lpstr>
      <vt:lpstr>Methods and Tools</vt:lpstr>
      <vt:lpstr>The Management Systems Model—information requires data, the data management role</vt:lpstr>
      <vt:lpstr>The Simplest Causal Model—your data model essentially</vt:lpstr>
      <vt:lpstr>PowerPoint Presentation</vt:lpstr>
      <vt:lpstr>Another take on Systems Thinking.  Sometimes organizations and individuals need help integrating Triple and Double loop learning with Good PDSA (are we doing things right?)</vt:lpstr>
      <vt:lpstr>Moving from Big Data to Operational Analytics</vt:lpstr>
      <vt:lpstr>Introducing the OA Triangle Model</vt:lpstr>
      <vt:lpstr>Zooming in on the Bottom Half</vt:lpstr>
      <vt:lpstr>Data Integration – Challenges, Advice, Examples</vt:lpstr>
      <vt:lpstr>Example of data integration—hard work but rewards are worth it</vt:lpstr>
      <vt:lpstr>PowerPoint Presentation</vt:lpstr>
      <vt:lpstr>PowerPoint Presentation</vt:lpstr>
      <vt:lpstr>PowerPoint Presentation</vt:lpstr>
      <vt:lpstr>PowerPoint Presentation</vt:lpstr>
      <vt:lpstr>Rounding the Corner on the Model is a Critical to Success Skillset for the Analyst</vt:lpstr>
      <vt:lpstr>Decision-Action/Study-Adjust Support System Design and Development</vt:lpstr>
      <vt:lpstr>Introducing the OA Triangle Model</vt:lpstr>
      <vt:lpstr>Operational Analytics enables us to understand this causal linkage to Benefits Realization and accelerates this causal path</vt:lpstr>
      <vt:lpstr>How can you do this really fast?  </vt:lpstr>
      <vt:lpstr>Getting to Visualizations that create insights (aha moments) that provoke timely decisions and actions and improvements is the key</vt:lpstr>
      <vt:lpstr>Key points--revisited</vt:lpstr>
      <vt:lpstr>Key points--revisited</vt:lpstr>
      <vt:lpstr>Key points</vt:lpstr>
      <vt:lpstr>PowerPoint Presentation</vt:lpstr>
      <vt:lpstr>OA 201 is up next…27 June</vt:lpstr>
      <vt:lpstr>Certificates and Certifications</vt:lpstr>
      <vt:lpstr>Context – reading list provided from Intel Global SCM Analytics team member (Moneyball is a great movie if you haven’t seen)</vt:lpstr>
      <vt:lpstr>Illustrative Contextual Fundamental Guiding Principles for Analysts—For Further Study</vt:lpstr>
      <vt:lpstr>Op Analytics Development Options</vt:lpstr>
      <vt:lpstr>Op Analytics represents huge opportunity for ISE’s</vt:lpstr>
      <vt:lpstr>10 fundamental modules make up the certificate program.  On-demand Learning Management System.  Chat Coaching and periodic ‘huddle’ coaching included.  Approximately 120 hours of studying designed to be completed in 6 months or less. </vt:lpstr>
      <vt:lpstr>Feature Extraction</vt:lpstr>
      <vt:lpstr>Zoom In: Saltine Line Control Points</vt:lpstr>
      <vt:lpstr>Knowledge Extraction</vt:lpstr>
      <vt:lpstr>Webinar and Article ‘Offer Elements’ Plan &amp; Calendar</vt:lpstr>
      <vt:lpstr>We’ll build off our Op Ex/Analytics Series past and just ahead</vt:lpstr>
      <vt:lpstr>PowerPoint Presentation</vt:lpstr>
      <vt:lpstr>PowerPoint Presentation</vt:lpstr>
      <vt:lpstr>PowerPoint Presentation</vt:lpstr>
      <vt:lpstr>Operational Analytics, done right, minimizes latencies and enhances ability to drive more rapid benefits realization</vt:lpstr>
      <vt:lpstr>Operational Analytics, done right, minimizes latencies and enhances ability to drive more rapid benefits realization</vt:lpstr>
      <vt:lpstr>No Time for Muddle….it’s a time for “Triple-Loop Learning”</vt:lpstr>
    </vt:vector>
  </TitlesOfParts>
  <Company>M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Name, Arial Regular 38 pt.</dc:title>
  <dc:creator>jmaciel</dc:creator>
  <cp:lastModifiedBy>Scott Sink</cp:lastModifiedBy>
  <cp:revision>991</cp:revision>
  <cp:lastPrinted>2018-05-15T12:24:10Z</cp:lastPrinted>
  <dcterms:created xsi:type="dcterms:W3CDTF">2006-07-11T14:49:13Z</dcterms:created>
  <dcterms:modified xsi:type="dcterms:W3CDTF">2023-06-13T14:4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1FE3F185438748969FAB3087351A2B</vt:lpwstr>
  </property>
</Properties>
</file>